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.xml" ContentType="application/vnd.openxmlformats-officedocument.presentationml.notesSlide+xml"/>
  <Override PartName="/ppt/tags/tag72.xml" ContentType="application/vnd.openxmlformats-officedocument.presentationml.tags+xml"/>
  <Override PartName="/ppt/notesSlides/notesSlide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5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ppt/comments/modernComment_7FFFD724_E3B3D36F.xml" ContentType="application/vnd.ms-powerpoint.comments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ppt/comments/modernComment_7FFFD731_8AA9026B.xml" ContentType="application/vnd.ms-powerpoint.comment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5" r:id="rId4"/>
    <p:sldMasterId id="2147483704" r:id="rId5"/>
  </p:sldMasterIdLst>
  <p:notesMasterIdLst>
    <p:notesMasterId r:id="rId27"/>
  </p:notesMasterIdLst>
  <p:sldIdLst>
    <p:sldId id="560" r:id="rId6"/>
    <p:sldId id="1881838557" r:id="rId7"/>
    <p:sldId id="1881838513" r:id="rId8"/>
    <p:sldId id="2147473203" r:id="rId9"/>
    <p:sldId id="581" r:id="rId10"/>
    <p:sldId id="2147473202" r:id="rId11"/>
    <p:sldId id="582" r:id="rId12"/>
    <p:sldId id="2147473195" r:id="rId13"/>
    <p:sldId id="1881838514" r:id="rId14"/>
    <p:sldId id="587" r:id="rId15"/>
    <p:sldId id="2147473198" r:id="rId16"/>
    <p:sldId id="2147473199" r:id="rId17"/>
    <p:sldId id="1881838515" r:id="rId18"/>
    <p:sldId id="2147473190" r:id="rId19"/>
    <p:sldId id="2147473191" r:id="rId20"/>
    <p:sldId id="585" r:id="rId21"/>
    <p:sldId id="2147473196" r:id="rId22"/>
    <p:sldId id="2147473189" r:id="rId23"/>
    <p:sldId id="2147473188" r:id="rId24"/>
    <p:sldId id="2147473200" r:id="rId25"/>
    <p:sldId id="2147473201" r:id="rId26"/>
  </p:sldIdLst>
  <p:sldSz cx="10691813" cy="7559675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enda" id="{76E99E73-1E5A-4A68-BD28-7279D5D0E0FB}">
          <p14:sldIdLst>
            <p14:sldId id="560"/>
            <p14:sldId id="1881838557"/>
            <p14:sldId id="1881838513"/>
            <p14:sldId id="2147473203"/>
            <p14:sldId id="581"/>
            <p14:sldId id="2147473202"/>
            <p14:sldId id="582"/>
            <p14:sldId id="2147473195"/>
            <p14:sldId id="1881838514"/>
            <p14:sldId id="587"/>
            <p14:sldId id="2147473198"/>
            <p14:sldId id="2147473199"/>
            <p14:sldId id="1881838515"/>
            <p14:sldId id="2147473190"/>
            <p14:sldId id="2147473191"/>
            <p14:sldId id="585"/>
            <p14:sldId id="2147473196"/>
            <p14:sldId id="2147473189"/>
            <p14:sldId id="2147473188"/>
            <p14:sldId id="2147473200"/>
            <p14:sldId id="214747320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39C348-D128-4CEF-B216-B6B6FFAC867D}" name="Manuel Taborga Barrios" initials="MB" userId="S::manuel.taborga.barrios@ey.com::45d2f89a-550f-461b-b5e2-55b212733ea4" providerId="AD"/>
  <p188:author id="{A963324B-DD73-D99A-06EE-88B4843EC1B6}" name="Peter Chang" initials="PC" userId="S::Peter.Chang@ey.com::7a6368f1-4a59-4781-b022-bf295a5c2925" providerId="AD"/>
  <p188:author id="{040D72A7-A752-D3FC-9930-272124260487}" name="Arpeet Ravalji" initials="AR" userId="S::Arpeet.Ravalji@ey.com::df719f9b-84be-434e-befd-b29d0109c5c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8941"/>
    <a:srgbClr val="2DB757"/>
    <a:srgbClr val="D2D2DA"/>
    <a:srgbClr val="797991"/>
    <a:srgbClr val="2B2D30"/>
    <a:srgbClr val="BCAA00"/>
    <a:srgbClr val="B4A300"/>
    <a:srgbClr val="867900"/>
    <a:srgbClr val="2E2E38"/>
    <a:srgbClr val="A1A1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9" d="100"/>
          <a:sy n="49" d="100"/>
        </p:scale>
        <p:origin x="112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6.xml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3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 Chang" userId="7a6368f1-4a59-4781-b022-bf295a5c2925" providerId="ADAL" clId="{5045C3DC-FAF8-4DE0-AC3F-92CAB48661E6}"/>
    <pc:docChg chg="undo custSel modSld">
      <pc:chgData name="Peter Chang" userId="7a6368f1-4a59-4781-b022-bf295a5c2925" providerId="ADAL" clId="{5045C3DC-FAF8-4DE0-AC3F-92CAB48661E6}" dt="2024-10-03T00:09:09.212" v="11" actId="1076"/>
      <pc:docMkLst>
        <pc:docMk/>
      </pc:docMkLst>
      <pc:sldChg chg="modCm">
        <pc:chgData name="Peter Chang" userId="7a6368f1-4a59-4781-b022-bf295a5c2925" providerId="ADAL" clId="{5045C3DC-FAF8-4DE0-AC3F-92CAB48661E6}" dt="2024-10-02T17:16:33.614" v="0"/>
        <pc:sldMkLst>
          <pc:docMk/>
          <pc:sldMk cId="2331513863" sldId="5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Peter Chang" userId="7a6368f1-4a59-4781-b022-bf295a5c2925" providerId="ADAL" clId="{5045C3DC-FAF8-4DE0-AC3F-92CAB48661E6}" dt="2024-10-02T17:16:33.614" v="0"/>
              <pc2:cmMkLst xmlns:pc2="http://schemas.microsoft.com/office/powerpoint/2019/9/main/command">
                <pc:docMk/>
                <pc:sldMk cId="2331513863" sldId="583"/>
                <pc2:cmMk id="{3BBD8EC5-4CA2-46A3-BA7F-C4D1DC7D7535}"/>
              </pc2:cmMkLst>
            </pc226:cmChg>
          </p:ext>
        </pc:extLst>
      </pc:sldChg>
      <pc:sldChg chg="modSp mod">
        <pc:chgData name="Peter Chang" userId="7a6368f1-4a59-4781-b022-bf295a5c2925" providerId="ADAL" clId="{5045C3DC-FAF8-4DE0-AC3F-92CAB48661E6}" dt="2024-10-03T00:09:09.212" v="11" actId="1076"/>
        <pc:sldMkLst>
          <pc:docMk/>
          <pc:sldMk cId="3820213103" sldId="2147473188"/>
        </pc:sldMkLst>
        <pc:spChg chg="mod">
          <ac:chgData name="Peter Chang" userId="7a6368f1-4a59-4781-b022-bf295a5c2925" providerId="ADAL" clId="{5045C3DC-FAF8-4DE0-AC3F-92CAB48661E6}" dt="2024-10-03T00:09:09.212" v="11" actId="1076"/>
          <ac:spMkLst>
            <pc:docMk/>
            <pc:sldMk cId="3820213103" sldId="2147473188"/>
            <ac:spMk id="11" creationId="{A7593518-D42D-52B4-8927-75DCEFFEAD78}"/>
          </ac:spMkLst>
        </pc:spChg>
        <pc:spChg chg="mod">
          <ac:chgData name="Peter Chang" userId="7a6368f1-4a59-4781-b022-bf295a5c2925" providerId="ADAL" clId="{5045C3DC-FAF8-4DE0-AC3F-92CAB48661E6}" dt="2024-10-03T00:09:08.665" v="10" actId="1076"/>
          <ac:spMkLst>
            <pc:docMk/>
            <pc:sldMk cId="3820213103" sldId="2147473188"/>
            <ac:spMk id="38" creationId="{EAF53830-FE29-E4B3-7427-6835B619C0C3}"/>
          </ac:spMkLst>
        </pc:spChg>
        <pc:spChg chg="mod">
          <ac:chgData name="Peter Chang" userId="7a6368f1-4a59-4781-b022-bf295a5c2925" providerId="ADAL" clId="{5045C3DC-FAF8-4DE0-AC3F-92CAB48661E6}" dt="2024-10-03T00:09:08.665" v="10" actId="1076"/>
          <ac:spMkLst>
            <pc:docMk/>
            <pc:sldMk cId="3820213103" sldId="2147473188"/>
            <ac:spMk id="39" creationId="{AE770DA2-D216-94DE-709F-B1039E35C1BF}"/>
          </ac:spMkLst>
        </pc:spChg>
        <pc:picChg chg="mod">
          <ac:chgData name="Peter Chang" userId="7a6368f1-4a59-4781-b022-bf295a5c2925" providerId="ADAL" clId="{5045C3DC-FAF8-4DE0-AC3F-92CAB48661E6}" dt="2024-10-03T00:09:09.212" v="11" actId="1076"/>
          <ac:picMkLst>
            <pc:docMk/>
            <pc:sldMk cId="3820213103" sldId="2147473188"/>
            <ac:picMk id="7" creationId="{F64B096D-B7BE-1832-D846-092382944603}"/>
          </ac:picMkLst>
        </pc:picChg>
        <pc:picChg chg="mod">
          <ac:chgData name="Peter Chang" userId="7a6368f1-4a59-4781-b022-bf295a5c2925" providerId="ADAL" clId="{5045C3DC-FAF8-4DE0-AC3F-92CAB48661E6}" dt="2024-10-03T00:09:08.665" v="10" actId="1076"/>
          <ac:picMkLst>
            <pc:docMk/>
            <pc:sldMk cId="3820213103" sldId="2147473188"/>
            <ac:picMk id="8" creationId="{734AB75D-FDE8-6890-38EE-7EAD68911907}"/>
          </ac:picMkLst>
        </pc:picChg>
      </pc:sldChg>
      <pc:sldChg chg="modSp">
        <pc:chgData name="Peter Chang" userId="7a6368f1-4a59-4781-b022-bf295a5c2925" providerId="ADAL" clId="{5045C3DC-FAF8-4DE0-AC3F-92CAB48661E6}" dt="2024-10-03T00:00:40.726" v="1"/>
        <pc:sldMkLst>
          <pc:docMk/>
          <pc:sldMk cId="21647705" sldId="2147473190"/>
        </pc:sldMkLst>
        <pc:graphicFrameChg chg="mod">
          <ac:chgData name="Peter Chang" userId="7a6368f1-4a59-4781-b022-bf295a5c2925" providerId="ADAL" clId="{5045C3DC-FAF8-4DE0-AC3F-92CAB48661E6}" dt="2024-10-03T00:00:40.726" v="1"/>
          <ac:graphicFrameMkLst>
            <pc:docMk/>
            <pc:sldMk cId="21647705" sldId="2147473190"/>
            <ac:graphicFrameMk id="22" creationId="{8D28A86C-5A0D-42BE-2309-1A2413D031D8}"/>
          </ac:graphicFrameMkLst>
        </pc:graphicFrameChg>
      </pc:sldChg>
    </pc:docChg>
  </pc:docChgLst>
  <pc:docChgLst>
    <pc:chgData name="Manuel Taborga Barrios" userId="S::manuel.taborga.barrios@ey.com::45d2f89a-550f-461b-b5e2-55b212733ea4" providerId="AD" clId="Web-{6E9ECF5F-C61D-2685-559B-CA4FA59A591F}"/>
    <pc:docChg chg="modSld">
      <pc:chgData name="Manuel Taborga Barrios" userId="S::manuel.taborga.barrios@ey.com::45d2f89a-550f-461b-b5e2-55b212733ea4" providerId="AD" clId="Web-{6E9ECF5F-C61D-2685-559B-CA4FA59A591F}" dt="2024-10-03T17:38:50.968" v="4" actId="20577"/>
      <pc:docMkLst>
        <pc:docMk/>
      </pc:docMkLst>
      <pc:sldChg chg="modSp">
        <pc:chgData name="Manuel Taborga Barrios" userId="S::manuel.taborga.barrios@ey.com::45d2f89a-550f-461b-b5e2-55b212733ea4" providerId="AD" clId="Web-{6E9ECF5F-C61D-2685-559B-CA4FA59A591F}" dt="2024-10-03T17:38:50.968" v="4" actId="20577"/>
        <pc:sldMkLst>
          <pc:docMk/>
          <pc:sldMk cId="2475059112" sldId="560"/>
        </pc:sldMkLst>
        <pc:spChg chg="mod">
          <ac:chgData name="Manuel Taborga Barrios" userId="S::manuel.taborga.barrios@ey.com::45d2f89a-550f-461b-b5e2-55b212733ea4" providerId="AD" clId="Web-{6E9ECF5F-C61D-2685-559B-CA4FA59A591F}" dt="2024-10-03T17:38:50.968" v="4" actId="20577"/>
          <ac:spMkLst>
            <pc:docMk/>
            <pc:sldMk cId="2475059112" sldId="560"/>
            <ac:spMk id="24" creationId="{BE590926-2F21-D0CA-65FF-D893173B4015}"/>
          </ac:spMkLst>
        </pc:spChg>
      </pc:sldChg>
    </pc:docChg>
  </pc:docChgLst>
  <pc:docChgLst>
    <pc:chgData name="Arpeet Ravalji" userId="df719f9b-84be-434e-befd-b29d0109c5c9" providerId="ADAL" clId="{36F38CD0-4B66-4201-818C-0A1F018B8219}"/>
    <pc:docChg chg="undo custSel addSld delSld modSld sldOrd modMainMaster modSection">
      <pc:chgData name="Arpeet Ravalji" userId="df719f9b-84be-434e-befd-b29d0109c5c9" providerId="ADAL" clId="{36F38CD0-4B66-4201-818C-0A1F018B8219}" dt="2024-10-03T18:00:19.253" v="261" actId="20577"/>
      <pc:docMkLst>
        <pc:docMk/>
      </pc:docMkLst>
      <pc:sldChg chg="addSp delSp modSp mod delCm modCm">
        <pc:chgData name="Arpeet Ravalji" userId="df719f9b-84be-434e-befd-b29d0109c5c9" providerId="ADAL" clId="{36F38CD0-4B66-4201-818C-0A1F018B8219}" dt="2024-10-03T15:41:35.728" v="61"/>
        <pc:sldMkLst>
          <pc:docMk/>
          <pc:sldMk cId="890762812" sldId="582"/>
        </pc:sldMkLst>
        <pc:spChg chg="add del mod modVis">
          <ac:chgData name="Arpeet Ravalji" userId="df719f9b-84be-434e-befd-b29d0109c5c9" providerId="ADAL" clId="{36F38CD0-4B66-4201-818C-0A1F018B8219}" dt="2024-10-03T15:39:26.674" v="31"/>
          <ac:spMkLst>
            <pc:docMk/>
            <pc:sldMk cId="890762812" sldId="582"/>
            <ac:spMk id="4" creationId="{A5290D32-7920-A3E8-BB73-FC035A3E3713}"/>
          </ac:spMkLst>
        </pc:spChg>
        <pc:spChg chg="add del mod modVis">
          <ac:chgData name="Arpeet Ravalji" userId="df719f9b-84be-434e-befd-b29d0109c5c9" providerId="ADAL" clId="{36F38CD0-4B66-4201-818C-0A1F018B8219}" dt="2024-10-03T15:41:31.682" v="57"/>
          <ac:spMkLst>
            <pc:docMk/>
            <pc:sldMk cId="890762812" sldId="582"/>
            <ac:spMk id="5" creationId="{66DEB63F-75E9-1651-CDED-7E22C81F05B5}"/>
          </ac:spMkLst>
        </pc:spChg>
        <pc:spChg chg="mod">
          <ac:chgData name="Arpeet Ravalji" userId="df719f9b-84be-434e-befd-b29d0109c5c9" providerId="ADAL" clId="{36F38CD0-4B66-4201-818C-0A1F018B8219}" dt="2024-10-03T15:41:31.656" v="35" actId="948"/>
          <ac:spMkLst>
            <pc:docMk/>
            <pc:sldMk cId="890762812" sldId="582"/>
            <ac:spMk id="23" creationId="{39BF6F14-5DFA-05BB-7FA9-525A38185212}"/>
          </ac:spMkLst>
        </pc:spChg>
        <pc:graphicFrameChg chg="mod">
          <ac:chgData name="Arpeet Ravalji" userId="df719f9b-84be-434e-befd-b29d0109c5c9" providerId="ADAL" clId="{36F38CD0-4B66-4201-818C-0A1F018B8219}" dt="2024-10-03T15:41:31.684" v="59"/>
          <ac:graphicFrameMkLst>
            <pc:docMk/>
            <pc:sldMk cId="890762812" sldId="582"/>
            <ac:graphicFrameMk id="10" creationId="{20E33E78-90AA-05FE-C167-7D24B1F4ECFD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Arpeet Ravalji" userId="df719f9b-84be-434e-befd-b29d0109c5c9" providerId="ADAL" clId="{36F38CD0-4B66-4201-818C-0A1F018B8219}" dt="2024-10-03T15:41:35.728" v="61"/>
              <pc2:cmMkLst xmlns:pc2="http://schemas.microsoft.com/office/powerpoint/2019/9/main/command">
                <pc:docMk/>
                <pc:sldMk cId="890762812" sldId="582"/>
                <pc2:cmMk id="{409FD283-6B32-4A91-94DE-5703C8BB5668}"/>
              </pc2:cmMkLst>
            </pc226:cmChg>
          </p:ext>
        </pc:extLst>
      </pc:sldChg>
      <pc:sldChg chg="del delCm">
        <pc:chgData name="Arpeet Ravalji" userId="df719f9b-84be-434e-befd-b29d0109c5c9" providerId="ADAL" clId="{36F38CD0-4B66-4201-818C-0A1F018B8219}" dt="2024-10-03T15:56:51.369" v="253" actId="47"/>
        <pc:sldMkLst>
          <pc:docMk/>
          <pc:sldMk cId="2331513863" sldId="5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rpeet Ravalji" userId="df719f9b-84be-434e-befd-b29d0109c5c9" providerId="ADAL" clId="{36F38CD0-4B66-4201-818C-0A1F018B8219}" dt="2024-10-03T15:38:48.356" v="3"/>
              <pc2:cmMkLst xmlns:pc2="http://schemas.microsoft.com/office/powerpoint/2019/9/main/command">
                <pc:docMk/>
                <pc:sldMk cId="2331513863" sldId="583"/>
                <pc2:cmMk id="{3BBD8EC5-4CA2-46A3-BA7F-C4D1DC7D7535}"/>
              </pc2:cmMkLst>
            </pc226:cmChg>
          </p:ext>
        </pc:extLst>
      </pc:sldChg>
      <pc:sldChg chg="ord">
        <pc:chgData name="Arpeet Ravalji" userId="df719f9b-84be-434e-befd-b29d0109c5c9" providerId="ADAL" clId="{36F38CD0-4B66-4201-818C-0A1F018B8219}" dt="2024-10-03T15:42:06.052" v="63"/>
        <pc:sldMkLst>
          <pc:docMk/>
          <pc:sldMk cId="4101483842" sldId="585"/>
        </pc:sldMkLst>
      </pc:sldChg>
      <pc:sldChg chg="modSp mod">
        <pc:chgData name="Arpeet Ravalji" userId="df719f9b-84be-434e-befd-b29d0109c5c9" providerId="ADAL" clId="{36F38CD0-4B66-4201-818C-0A1F018B8219}" dt="2024-10-03T15:42:18.236" v="67" actId="20577"/>
        <pc:sldMkLst>
          <pc:docMk/>
          <pc:sldMk cId="314180490" sldId="1881838514"/>
        </pc:sldMkLst>
        <pc:spChg chg="mod">
          <ac:chgData name="Arpeet Ravalji" userId="df719f9b-84be-434e-befd-b29d0109c5c9" providerId="ADAL" clId="{36F38CD0-4B66-4201-818C-0A1F018B8219}" dt="2024-10-03T15:42:18.236" v="67" actId="20577"/>
          <ac:spMkLst>
            <pc:docMk/>
            <pc:sldMk cId="314180490" sldId="1881838514"/>
            <ac:spMk id="9" creationId="{93DAA3AA-04DA-4F4C-84DD-B3CEDDC5DA84}"/>
          </ac:spMkLst>
        </pc:spChg>
      </pc:sldChg>
      <pc:sldChg chg="modSp mod">
        <pc:chgData name="Arpeet Ravalji" userId="df719f9b-84be-434e-befd-b29d0109c5c9" providerId="ADAL" clId="{36F38CD0-4B66-4201-818C-0A1F018B8219}" dt="2024-10-03T15:42:21.979" v="69" actId="20577"/>
        <pc:sldMkLst>
          <pc:docMk/>
          <pc:sldMk cId="2367976485" sldId="1881838515"/>
        </pc:sldMkLst>
        <pc:spChg chg="mod">
          <ac:chgData name="Arpeet Ravalji" userId="df719f9b-84be-434e-befd-b29d0109c5c9" providerId="ADAL" clId="{36F38CD0-4B66-4201-818C-0A1F018B8219}" dt="2024-10-03T15:42:21.979" v="69" actId="20577"/>
          <ac:spMkLst>
            <pc:docMk/>
            <pc:sldMk cId="2367976485" sldId="1881838515"/>
            <ac:spMk id="9" creationId="{93DAA3AA-04DA-4F4C-84DD-B3CEDDC5DA84}"/>
          </ac:spMkLst>
        </pc:spChg>
      </pc:sldChg>
      <pc:sldChg chg="modSp mod">
        <pc:chgData name="Arpeet Ravalji" userId="df719f9b-84be-434e-befd-b29d0109c5c9" providerId="ADAL" clId="{36F38CD0-4B66-4201-818C-0A1F018B8219}" dt="2024-10-03T18:00:19.253" v="261" actId="20577"/>
        <pc:sldMkLst>
          <pc:docMk/>
          <pc:sldMk cId="3680113520" sldId="1881838557"/>
        </pc:sldMkLst>
        <pc:spChg chg="mod">
          <ac:chgData name="Arpeet Ravalji" userId="df719f9b-84be-434e-befd-b29d0109c5c9" providerId="ADAL" clId="{36F38CD0-4B66-4201-818C-0A1F018B8219}" dt="2024-10-03T15:44:00.657" v="105" actId="1036"/>
          <ac:spMkLst>
            <pc:docMk/>
            <pc:sldMk cId="3680113520" sldId="1881838557"/>
            <ac:spMk id="2" creationId="{66D88B35-653C-D2A2-D051-DC7369097B08}"/>
          </ac:spMkLst>
        </pc:spChg>
        <pc:spChg chg="mod">
          <ac:chgData name="Arpeet Ravalji" userId="df719f9b-84be-434e-befd-b29d0109c5c9" providerId="ADAL" clId="{36F38CD0-4B66-4201-818C-0A1F018B8219}" dt="2024-10-03T15:43:51.917" v="89" actId="1035"/>
          <ac:spMkLst>
            <pc:docMk/>
            <pc:sldMk cId="3680113520" sldId="1881838557"/>
            <ac:spMk id="19" creationId="{FE270D2E-0395-4DE5-A2CD-9485DA51BF56}"/>
          </ac:spMkLst>
        </pc:spChg>
        <pc:graphicFrameChg chg="mod modGraphic">
          <ac:chgData name="Arpeet Ravalji" userId="df719f9b-84be-434e-befd-b29d0109c5c9" providerId="ADAL" clId="{36F38CD0-4B66-4201-818C-0A1F018B8219}" dt="2024-10-03T18:00:19.253" v="261" actId="20577"/>
          <ac:graphicFrameMkLst>
            <pc:docMk/>
            <pc:sldMk cId="3680113520" sldId="1881838557"/>
            <ac:graphicFrameMk id="13" creationId="{160AA540-7563-41CF-A011-8A8C1CF65B79}"/>
          </ac:graphicFrameMkLst>
        </pc:graphicFrameChg>
      </pc:sldChg>
      <pc:sldChg chg="delCm modCm">
        <pc:chgData name="Arpeet Ravalji" userId="df719f9b-84be-434e-befd-b29d0109c5c9" providerId="ADAL" clId="{36F38CD0-4B66-4201-818C-0A1F018B8219}" dt="2024-10-03T15:38:11.002" v="2"/>
        <pc:sldMkLst>
          <pc:docMk/>
          <pc:sldMk cId="21647705" sldId="214747319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rpeet Ravalji" userId="df719f9b-84be-434e-befd-b29d0109c5c9" providerId="ADAL" clId="{36F38CD0-4B66-4201-818C-0A1F018B8219}" dt="2024-10-03T15:38:11.002" v="2"/>
              <pc2:cmMkLst xmlns:pc2="http://schemas.microsoft.com/office/powerpoint/2019/9/main/command">
                <pc:docMk/>
                <pc:sldMk cId="21647705" sldId="2147473190"/>
                <pc2:cmMk id="{4ED2971D-A2F6-4E18-90DF-2AB668840FF6}"/>
              </pc2:cmMkLst>
            </pc226:cmChg>
            <pc226:cmChg xmlns:pc226="http://schemas.microsoft.com/office/powerpoint/2022/06/main/command" chg="del mod modRxn">
              <pc226:chgData name="Arpeet Ravalji" userId="df719f9b-84be-434e-befd-b29d0109c5c9" providerId="ADAL" clId="{36F38CD0-4B66-4201-818C-0A1F018B8219}" dt="2024-10-03T15:38:07.254" v="1"/>
              <pc2:cmMkLst xmlns:pc2="http://schemas.microsoft.com/office/powerpoint/2019/9/main/command">
                <pc:docMk/>
                <pc:sldMk cId="21647705" sldId="2147473190"/>
                <pc2:cmMk id="{62582A75-FEE6-4FE8-ACD5-EDD2CD5EA3EF}"/>
              </pc2:cmMkLst>
            </pc226:cmChg>
          </p:ext>
        </pc:extLst>
      </pc:sldChg>
      <pc:sldChg chg="modSp mod ord">
        <pc:chgData name="Arpeet Ravalji" userId="df719f9b-84be-434e-befd-b29d0109c5c9" providerId="ADAL" clId="{36F38CD0-4B66-4201-818C-0A1F018B8219}" dt="2024-10-03T15:42:10.684" v="65" actId="20577"/>
        <pc:sldMkLst>
          <pc:docMk/>
          <pc:sldMk cId="2866038851" sldId="2147473191"/>
        </pc:sldMkLst>
        <pc:spChg chg="mod">
          <ac:chgData name="Arpeet Ravalji" userId="df719f9b-84be-434e-befd-b29d0109c5c9" providerId="ADAL" clId="{36F38CD0-4B66-4201-818C-0A1F018B8219}" dt="2024-10-03T15:42:10.684" v="65" actId="20577"/>
          <ac:spMkLst>
            <pc:docMk/>
            <pc:sldMk cId="2866038851" sldId="2147473191"/>
            <ac:spMk id="9" creationId="{93DAA3AA-04DA-4F4C-84DD-B3CEDDC5DA84}"/>
          </ac:spMkLst>
        </pc:spChg>
      </pc:sldChg>
      <pc:sldChg chg="ord">
        <pc:chgData name="Arpeet Ravalji" userId="df719f9b-84be-434e-befd-b29d0109c5c9" providerId="ADAL" clId="{36F38CD0-4B66-4201-818C-0A1F018B8219}" dt="2024-10-03T15:42:06.052" v="63"/>
        <pc:sldMkLst>
          <pc:docMk/>
          <pc:sldMk cId="3587715957" sldId="2147473196"/>
        </pc:sldMkLst>
      </pc:sldChg>
      <pc:sldChg chg="add">
        <pc:chgData name="Arpeet Ravalji" userId="df719f9b-84be-434e-befd-b29d0109c5c9" providerId="ADAL" clId="{36F38CD0-4B66-4201-818C-0A1F018B8219}" dt="2024-10-03T15:56:49.424" v="252"/>
        <pc:sldMkLst>
          <pc:docMk/>
          <pc:sldMk cId="4209491792" sldId="2147473202"/>
        </pc:sldMkLst>
      </pc:sldChg>
      <pc:sldChg chg="add">
        <pc:chgData name="Arpeet Ravalji" userId="df719f9b-84be-434e-befd-b29d0109c5c9" providerId="ADAL" clId="{36F38CD0-4B66-4201-818C-0A1F018B8219}" dt="2024-10-03T15:58:02.035" v="254"/>
        <pc:sldMkLst>
          <pc:docMk/>
          <pc:sldMk cId="2267365492" sldId="2147473203"/>
        </pc:sldMkLst>
      </pc:sldChg>
      <pc:sldMasterChg chg="modSldLayout">
        <pc:chgData name="Arpeet Ravalji" userId="df719f9b-84be-434e-befd-b29d0109c5c9" providerId="ADAL" clId="{36F38CD0-4B66-4201-818C-0A1F018B8219}" dt="2024-10-03T15:53:56.392" v="147"/>
        <pc:sldMasterMkLst>
          <pc:docMk/>
          <pc:sldMasterMk cId="481570018" sldId="2147483648"/>
        </pc:sldMasterMkLst>
        <pc:sldLayoutChg chg="delSp mod">
          <pc:chgData name="Arpeet Ravalji" userId="df719f9b-84be-434e-befd-b29d0109c5c9" providerId="ADAL" clId="{36F38CD0-4B66-4201-818C-0A1F018B8219}" dt="2024-10-03T15:53:45.678" v="121" actId="478"/>
          <pc:sldLayoutMkLst>
            <pc:docMk/>
            <pc:sldMasterMk cId="481570018" sldId="2147483648"/>
            <pc:sldLayoutMk cId="3119476593" sldId="2147483670"/>
          </pc:sldLayoutMkLst>
          <pc:spChg chg="del">
            <ac:chgData name="Arpeet Ravalji" userId="df719f9b-84be-434e-befd-b29d0109c5c9" providerId="ADAL" clId="{36F38CD0-4B66-4201-818C-0A1F018B8219}" dt="2024-10-03T15:53:45.678" v="121" actId="478"/>
            <ac:spMkLst>
              <pc:docMk/>
              <pc:sldMasterMk cId="481570018" sldId="2147483648"/>
              <pc:sldLayoutMk cId="3119476593" sldId="2147483670"/>
              <ac:spMk id="2" creationId="{85EE7BA4-8908-7E92-9FA0-C7AF0C3F3DA1}"/>
            </ac:spMkLst>
          </pc:spChg>
          <pc:spChg chg="del">
            <ac:chgData name="Arpeet Ravalji" userId="df719f9b-84be-434e-befd-b29d0109c5c9" providerId="ADAL" clId="{36F38CD0-4B66-4201-818C-0A1F018B8219}" dt="2024-10-03T15:53:43.322" v="120" actId="478"/>
            <ac:spMkLst>
              <pc:docMk/>
              <pc:sldMasterMk cId="481570018" sldId="2147483648"/>
              <pc:sldLayoutMk cId="3119476593" sldId="2147483670"/>
              <ac:spMk id="3" creationId="{D6CFE152-1106-DA22-905A-2C5A05D3D801}"/>
            </ac:spMkLst>
          </pc:spChg>
        </pc:sldLayoutChg>
        <pc:sldLayoutChg chg="delSp modSp mod">
          <pc:chgData name="Arpeet Ravalji" userId="df719f9b-84be-434e-befd-b29d0109c5c9" providerId="ADAL" clId="{36F38CD0-4B66-4201-818C-0A1F018B8219}" dt="2024-10-03T15:53:33.898" v="118" actId="478"/>
          <pc:sldLayoutMkLst>
            <pc:docMk/>
            <pc:sldMasterMk cId="481570018" sldId="2147483648"/>
            <pc:sldLayoutMk cId="2635066725" sldId="2147483681"/>
          </pc:sldLayoutMkLst>
          <pc:spChg chg="del mod">
            <ac:chgData name="Arpeet Ravalji" userId="df719f9b-84be-434e-befd-b29d0109c5c9" providerId="ADAL" clId="{36F38CD0-4B66-4201-818C-0A1F018B8219}" dt="2024-10-03T15:53:33.898" v="118" actId="478"/>
            <ac:spMkLst>
              <pc:docMk/>
              <pc:sldMasterMk cId="481570018" sldId="2147483648"/>
              <pc:sldLayoutMk cId="2635066725" sldId="2147483681"/>
              <ac:spMk id="2" creationId="{53F3DBB9-EF2D-B6DF-A405-C88737CA3364}"/>
            </ac:spMkLst>
          </pc:spChg>
        </pc:sldLayoutChg>
        <pc:sldLayoutChg chg="delSp mod">
          <pc:chgData name="Arpeet Ravalji" userId="df719f9b-84be-434e-befd-b29d0109c5c9" providerId="ADAL" clId="{36F38CD0-4B66-4201-818C-0A1F018B8219}" dt="2024-10-03T15:53:38.295" v="119" actId="478"/>
          <pc:sldLayoutMkLst>
            <pc:docMk/>
            <pc:sldMasterMk cId="481570018" sldId="2147483648"/>
            <pc:sldLayoutMk cId="2842031828" sldId="2147483693"/>
          </pc:sldLayoutMkLst>
          <pc:spChg chg="del">
            <ac:chgData name="Arpeet Ravalji" userId="df719f9b-84be-434e-befd-b29d0109c5c9" providerId="ADAL" clId="{36F38CD0-4B66-4201-818C-0A1F018B8219}" dt="2024-10-03T15:53:38.295" v="119" actId="478"/>
            <ac:spMkLst>
              <pc:docMk/>
              <pc:sldMasterMk cId="481570018" sldId="2147483648"/>
              <pc:sldLayoutMk cId="2842031828" sldId="2147483693"/>
              <ac:spMk id="2" creationId="{20857C5E-D5DC-A29D-FA51-65173BDB9391}"/>
            </ac:spMkLst>
          </pc:spChg>
        </pc:sldLayoutChg>
        <pc:sldLayoutChg chg="delSp modSp mod">
          <pc:chgData name="Arpeet Ravalji" userId="df719f9b-84be-434e-befd-b29d0109c5c9" providerId="ADAL" clId="{36F38CD0-4B66-4201-818C-0A1F018B8219}" dt="2024-10-03T15:53:19.660" v="116" actId="478"/>
          <pc:sldLayoutMkLst>
            <pc:docMk/>
            <pc:sldMasterMk cId="481570018" sldId="2147483648"/>
            <pc:sldLayoutMk cId="2455079665" sldId="2147483694"/>
          </pc:sldLayoutMkLst>
          <pc:spChg chg="del mod">
            <ac:chgData name="Arpeet Ravalji" userId="df719f9b-84be-434e-befd-b29d0109c5c9" providerId="ADAL" clId="{36F38CD0-4B66-4201-818C-0A1F018B8219}" dt="2024-10-03T15:53:17.859" v="115" actId="478"/>
            <ac:spMkLst>
              <pc:docMk/>
              <pc:sldMasterMk cId="481570018" sldId="2147483648"/>
              <pc:sldLayoutMk cId="2455079665" sldId="2147483694"/>
              <ac:spMk id="2" creationId="{A7529AB4-5723-D611-4BF2-4A93295C630D}"/>
            </ac:spMkLst>
          </pc:spChg>
          <pc:spChg chg="del">
            <ac:chgData name="Arpeet Ravalji" userId="df719f9b-84be-434e-befd-b29d0109c5c9" providerId="ADAL" clId="{36F38CD0-4B66-4201-818C-0A1F018B8219}" dt="2024-10-03T15:53:19.660" v="116" actId="478"/>
            <ac:spMkLst>
              <pc:docMk/>
              <pc:sldMasterMk cId="481570018" sldId="2147483648"/>
              <pc:sldLayoutMk cId="2455079665" sldId="2147483694"/>
              <ac:spMk id="4" creationId="{3CA9F5B0-43D3-F03F-1C0C-5BECB72B7B3F}"/>
            </ac:spMkLst>
          </pc:spChg>
        </pc:sldLayoutChg>
        <pc:sldLayoutChg chg="modSp mod">
          <pc:chgData name="Arpeet Ravalji" userId="df719f9b-84be-434e-befd-b29d0109c5c9" providerId="ADAL" clId="{36F38CD0-4B66-4201-818C-0A1F018B8219}" dt="2024-10-03T15:53:55.823" v="123"/>
          <pc:sldLayoutMkLst>
            <pc:docMk/>
            <pc:sldMasterMk cId="481570018" sldId="2147483648"/>
            <pc:sldLayoutMk cId="2167503600" sldId="2147483700"/>
          </pc:sldLayoutMkLst>
          <pc:graphicFrameChg chg="mod">
            <ac:chgData name="Arpeet Ravalji" userId="df719f9b-84be-434e-befd-b29d0109c5c9" providerId="ADAL" clId="{36F38CD0-4B66-4201-818C-0A1F018B8219}" dt="2024-10-03T15:53:55.823" v="123"/>
            <ac:graphicFrameMkLst>
              <pc:docMk/>
              <pc:sldMasterMk cId="481570018" sldId="2147483648"/>
              <pc:sldLayoutMk cId="2167503600" sldId="2147483700"/>
              <ac:graphicFrameMk id="10" creationId="{64FA27B8-9154-4F95-8315-DB0CCE984224}"/>
            </ac:graphicFrameMkLst>
          </pc:graphicFrameChg>
        </pc:sldLayoutChg>
        <pc:sldLayoutChg chg="addSp delSp modSp mod">
          <pc:chgData name="Arpeet Ravalji" userId="df719f9b-84be-434e-befd-b29d0109c5c9" providerId="ADAL" clId="{36F38CD0-4B66-4201-818C-0A1F018B8219}" dt="2024-10-03T15:53:56.392" v="147"/>
          <pc:sldLayoutMkLst>
            <pc:docMk/>
            <pc:sldMasterMk cId="481570018" sldId="2147483648"/>
            <pc:sldLayoutMk cId="80400204" sldId="2147483701"/>
          </pc:sldLayoutMkLst>
          <pc:spChg chg="add del mod modVis">
            <ac:chgData name="Arpeet Ravalji" userId="df719f9b-84be-434e-befd-b29d0109c5c9" providerId="ADAL" clId="{36F38CD0-4B66-4201-818C-0A1F018B8219}" dt="2024-10-03T15:53:56.390" v="145"/>
            <ac:spMkLst>
              <pc:docMk/>
              <pc:sldMasterMk cId="481570018" sldId="2147483648"/>
              <pc:sldLayoutMk cId="80400204" sldId="2147483701"/>
              <ac:spMk id="2" creationId="{3106AA63-F2CF-4F5A-8699-0B8795901DDC}"/>
            </ac:spMkLst>
          </pc:spChg>
          <pc:spChg chg="mod">
            <ac:chgData name="Arpeet Ravalji" userId="df719f9b-84be-434e-befd-b29d0109c5c9" providerId="ADAL" clId="{36F38CD0-4B66-4201-818C-0A1F018B8219}" dt="2024-10-03T15:53:56.357" v="124" actId="948"/>
            <ac:spMkLst>
              <pc:docMk/>
              <pc:sldMasterMk cId="481570018" sldId="2147483648"/>
              <pc:sldLayoutMk cId="80400204" sldId="2147483701"/>
              <ac:spMk id="5" creationId="{FD6E81A0-F043-950E-463F-67373E7B0377}"/>
            </ac:spMkLst>
          </pc:spChg>
          <pc:graphicFrameChg chg="mod">
            <ac:chgData name="Arpeet Ravalji" userId="df719f9b-84be-434e-befd-b29d0109c5c9" providerId="ADAL" clId="{36F38CD0-4B66-4201-818C-0A1F018B8219}" dt="2024-10-03T15:53:56.392" v="147"/>
            <ac:graphicFrameMkLst>
              <pc:docMk/>
              <pc:sldMasterMk cId="481570018" sldId="2147483648"/>
              <pc:sldLayoutMk cId="80400204" sldId="2147483701"/>
              <ac:graphicFrameMk id="4" creationId="{26AD4B0E-4E52-D9B9-93F7-C6B52E65C2C0}"/>
            </ac:graphicFrameMkLst>
          </pc:graphicFrameChg>
        </pc:sldLayoutChg>
      </pc:sldMasterChg>
      <pc:sldMasterChg chg="modSldLayout">
        <pc:chgData name="Arpeet Ravalji" userId="df719f9b-84be-434e-befd-b29d0109c5c9" providerId="ADAL" clId="{36F38CD0-4B66-4201-818C-0A1F018B8219}" dt="2024-10-03T15:54:07.544" v="251"/>
        <pc:sldMasterMkLst>
          <pc:docMk/>
          <pc:sldMasterMk cId="2162098864" sldId="2147483704"/>
        </pc:sldMasterMkLst>
        <pc:sldLayoutChg chg="addSp delSp modSp mod">
          <pc:chgData name="Arpeet Ravalji" userId="df719f9b-84be-434e-befd-b29d0109c5c9" providerId="ADAL" clId="{36F38CD0-4B66-4201-818C-0A1F018B8219}" dt="2024-10-03T15:54:04.696" v="172"/>
          <pc:sldLayoutMkLst>
            <pc:docMk/>
            <pc:sldMasterMk cId="2162098864" sldId="2147483704"/>
            <pc:sldLayoutMk cId="3242520376" sldId="2147483705"/>
          </pc:sldLayoutMkLst>
          <pc:spChg chg="mod">
            <ac:chgData name="Arpeet Ravalji" userId="df719f9b-84be-434e-befd-b29d0109c5c9" providerId="ADAL" clId="{36F38CD0-4B66-4201-818C-0A1F018B8219}" dt="2024-10-03T15:54:04.675" v="148" actId="948"/>
            <ac:spMkLst>
              <pc:docMk/>
              <pc:sldMasterMk cId="2162098864" sldId="2147483704"/>
              <pc:sldLayoutMk cId="3242520376" sldId="2147483705"/>
              <ac:spMk id="3" creationId="{00000000-0000-0000-0000-000000000000}"/>
            </ac:spMkLst>
          </pc:spChg>
          <pc:spChg chg="add del mod modVis">
            <ac:chgData name="Arpeet Ravalji" userId="df719f9b-84be-434e-befd-b29d0109c5c9" providerId="ADAL" clId="{36F38CD0-4B66-4201-818C-0A1F018B8219}" dt="2024-10-03T15:54:04.695" v="170"/>
            <ac:spMkLst>
              <pc:docMk/>
              <pc:sldMasterMk cId="2162098864" sldId="2147483704"/>
              <pc:sldLayoutMk cId="3242520376" sldId="2147483705"/>
              <ac:spMk id="8" creationId="{E7331542-DFDE-2CAE-2AD9-A0489A590549}"/>
            </ac:spMkLst>
          </pc:spChg>
          <pc:graphicFrameChg chg="mod">
            <ac:chgData name="Arpeet Ravalji" userId="df719f9b-84be-434e-befd-b29d0109c5c9" providerId="ADAL" clId="{36F38CD0-4B66-4201-818C-0A1F018B8219}" dt="2024-10-03T15:54:04.696" v="172"/>
            <ac:graphicFrameMkLst>
              <pc:docMk/>
              <pc:sldMasterMk cId="2162098864" sldId="2147483704"/>
              <pc:sldLayoutMk cId="3242520376" sldId="2147483705"/>
              <ac:graphicFrameMk id="11" creationId="{576DE017-86A7-4C6D-BB8C-59DE6F188C12}"/>
            </ac:graphicFrameMkLst>
          </pc:graphicFrameChg>
        </pc:sldLayoutChg>
        <pc:sldLayoutChg chg="modSp mod">
          <pc:chgData name="Arpeet Ravalji" userId="df719f9b-84be-434e-befd-b29d0109c5c9" providerId="ADAL" clId="{36F38CD0-4B66-4201-818C-0A1F018B8219}" dt="2024-10-03T15:54:05.222" v="174"/>
          <pc:sldLayoutMkLst>
            <pc:docMk/>
            <pc:sldMasterMk cId="2162098864" sldId="2147483704"/>
            <pc:sldLayoutMk cId="3728052676" sldId="2147483707"/>
          </pc:sldLayoutMkLst>
          <pc:graphicFrameChg chg="mod">
            <ac:chgData name="Arpeet Ravalji" userId="df719f9b-84be-434e-befd-b29d0109c5c9" providerId="ADAL" clId="{36F38CD0-4B66-4201-818C-0A1F018B8219}" dt="2024-10-03T15:54:05.222" v="174"/>
            <ac:graphicFrameMkLst>
              <pc:docMk/>
              <pc:sldMasterMk cId="2162098864" sldId="2147483704"/>
              <pc:sldLayoutMk cId="3728052676" sldId="2147483707"/>
              <ac:graphicFrameMk id="10" creationId="{64FA27B8-9154-4F95-8315-DB0CCE984224}"/>
            </ac:graphicFrameMkLst>
          </pc:graphicFrameChg>
        </pc:sldLayoutChg>
        <pc:sldLayoutChg chg="addSp delSp modSp mod">
          <pc:chgData name="Arpeet Ravalji" userId="df719f9b-84be-434e-befd-b29d0109c5c9" providerId="ADAL" clId="{36F38CD0-4B66-4201-818C-0A1F018B8219}" dt="2024-10-03T15:54:06.093" v="199"/>
          <pc:sldLayoutMkLst>
            <pc:docMk/>
            <pc:sldMasterMk cId="2162098864" sldId="2147483704"/>
            <pc:sldLayoutMk cId="2444396299" sldId="2147483711"/>
          </pc:sldLayoutMkLst>
          <pc:spChg chg="add del mod modVis">
            <ac:chgData name="Arpeet Ravalji" userId="df719f9b-84be-434e-befd-b29d0109c5c9" providerId="ADAL" clId="{36F38CD0-4B66-4201-818C-0A1F018B8219}" dt="2024-10-03T15:54:06.092" v="197"/>
            <ac:spMkLst>
              <pc:docMk/>
              <pc:sldMasterMk cId="2162098864" sldId="2147483704"/>
              <pc:sldLayoutMk cId="2444396299" sldId="2147483711"/>
              <ac:spMk id="4" creationId="{FA85A76F-3E95-6C96-4873-B3CA45141E93}"/>
            </ac:spMkLst>
          </pc:spChg>
          <pc:spChg chg="mod">
            <ac:chgData name="Arpeet Ravalji" userId="df719f9b-84be-434e-befd-b29d0109c5c9" providerId="ADAL" clId="{36F38CD0-4B66-4201-818C-0A1F018B8219}" dt="2024-10-03T15:54:06.063" v="175" actId="948"/>
            <ac:spMkLst>
              <pc:docMk/>
              <pc:sldMasterMk cId="2162098864" sldId="2147483704"/>
              <pc:sldLayoutMk cId="2444396299" sldId="2147483711"/>
              <ac:spMk id="14" creationId="{A0F52ABD-8248-4CFD-BBB1-C4BF7477C72F}"/>
            </ac:spMkLst>
          </pc:spChg>
          <pc:graphicFrameChg chg="mod">
            <ac:chgData name="Arpeet Ravalji" userId="df719f9b-84be-434e-befd-b29d0109c5c9" providerId="ADAL" clId="{36F38CD0-4B66-4201-818C-0A1F018B8219}" dt="2024-10-03T15:54:06.093" v="199"/>
            <ac:graphicFrameMkLst>
              <pc:docMk/>
              <pc:sldMasterMk cId="2162098864" sldId="2147483704"/>
              <pc:sldLayoutMk cId="2444396299" sldId="2147483711"/>
              <ac:graphicFrameMk id="7" creationId="{7312070A-9FC0-49BB-A558-0E1B08B4D400}"/>
            </ac:graphicFrameMkLst>
          </pc:graphicFrameChg>
        </pc:sldLayoutChg>
        <pc:sldLayoutChg chg="modSp mod">
          <pc:chgData name="Arpeet Ravalji" userId="df719f9b-84be-434e-befd-b29d0109c5c9" providerId="ADAL" clId="{36F38CD0-4B66-4201-818C-0A1F018B8219}" dt="2024-10-03T15:54:07.538" v="243"/>
          <pc:sldLayoutMkLst>
            <pc:docMk/>
            <pc:sldMasterMk cId="2162098864" sldId="2147483704"/>
            <pc:sldLayoutMk cId="184297687" sldId="2147483713"/>
          </pc:sldLayoutMkLst>
          <pc:graphicFrameChg chg="mod">
            <ac:chgData name="Arpeet Ravalji" userId="df719f9b-84be-434e-befd-b29d0109c5c9" providerId="ADAL" clId="{36F38CD0-4B66-4201-818C-0A1F018B8219}" dt="2024-10-03T15:54:07.538" v="243"/>
            <ac:graphicFrameMkLst>
              <pc:docMk/>
              <pc:sldMasterMk cId="2162098864" sldId="2147483704"/>
              <pc:sldLayoutMk cId="184297687" sldId="2147483713"/>
              <ac:graphicFrameMk id="7" creationId="{7312070A-9FC0-49BB-A558-0E1B08B4D400}"/>
            </ac:graphicFrameMkLst>
          </pc:graphicFrameChg>
        </pc:sldLayoutChg>
        <pc:sldLayoutChg chg="addSp delSp modSp mod">
          <pc:chgData name="Arpeet Ravalji" userId="df719f9b-84be-434e-befd-b29d0109c5c9" providerId="ADAL" clId="{36F38CD0-4B66-4201-818C-0A1F018B8219}" dt="2024-10-03T15:54:07.544" v="251"/>
          <pc:sldLayoutMkLst>
            <pc:docMk/>
            <pc:sldMasterMk cId="2162098864" sldId="2147483704"/>
            <pc:sldLayoutMk cId="2615649186" sldId="2147483714"/>
          </pc:sldLayoutMkLst>
          <pc:spChg chg="mod">
            <ac:chgData name="Arpeet Ravalji" userId="df719f9b-84be-434e-befd-b29d0109c5c9" providerId="ADAL" clId="{36F38CD0-4B66-4201-818C-0A1F018B8219}" dt="2024-10-03T15:54:07.516" v="221" actId="948"/>
            <ac:spMkLst>
              <pc:docMk/>
              <pc:sldMasterMk cId="2162098864" sldId="2147483704"/>
              <pc:sldLayoutMk cId="2615649186" sldId="2147483714"/>
              <ac:spMk id="3" creationId="{00000000-0000-0000-0000-000000000000}"/>
            </ac:spMkLst>
          </pc:spChg>
          <pc:spChg chg="add del mod modVis">
            <ac:chgData name="Arpeet Ravalji" userId="df719f9b-84be-434e-befd-b29d0109c5c9" providerId="ADAL" clId="{36F38CD0-4B66-4201-818C-0A1F018B8219}" dt="2024-10-03T15:54:07.543" v="249"/>
            <ac:spMkLst>
              <pc:docMk/>
              <pc:sldMasterMk cId="2162098864" sldId="2147483704"/>
              <pc:sldLayoutMk cId="2615649186" sldId="2147483714"/>
              <ac:spMk id="8" creationId="{4CA8E26E-741A-45EC-6920-054295D147A0}"/>
            </ac:spMkLst>
          </pc:spChg>
          <pc:graphicFrameChg chg="mod">
            <ac:chgData name="Arpeet Ravalji" userId="df719f9b-84be-434e-befd-b29d0109c5c9" providerId="ADAL" clId="{36F38CD0-4B66-4201-818C-0A1F018B8219}" dt="2024-10-03T15:54:07.544" v="251"/>
            <ac:graphicFrameMkLst>
              <pc:docMk/>
              <pc:sldMasterMk cId="2162098864" sldId="2147483704"/>
              <pc:sldLayoutMk cId="2615649186" sldId="2147483714"/>
              <ac:graphicFrameMk id="46" creationId="{D39DD8B5-29D5-4255-8546-08AF2D6221F1}"/>
            </ac:graphicFrameMkLst>
          </pc:graphicFrameChg>
        </pc:sldLayoutChg>
        <pc:sldLayoutChg chg="addSp delSp modSp mod">
          <pc:chgData name="Arpeet Ravalji" userId="df719f9b-84be-434e-befd-b29d0109c5c9" providerId="ADAL" clId="{36F38CD0-4B66-4201-818C-0A1F018B8219}" dt="2024-10-03T15:54:07.541" v="247"/>
          <pc:sldLayoutMkLst>
            <pc:docMk/>
            <pc:sldMasterMk cId="2162098864" sldId="2147483704"/>
            <pc:sldLayoutMk cId="1711417459" sldId="2147483715"/>
          </pc:sldLayoutMkLst>
          <pc:spChg chg="add del mod modVis">
            <ac:chgData name="Arpeet Ravalji" userId="df719f9b-84be-434e-befd-b29d0109c5c9" providerId="ADAL" clId="{36F38CD0-4B66-4201-818C-0A1F018B8219}" dt="2024-10-03T15:54:07.540" v="245"/>
            <ac:spMkLst>
              <pc:docMk/>
              <pc:sldMasterMk cId="2162098864" sldId="2147483704"/>
              <pc:sldLayoutMk cId="1711417459" sldId="2147483715"/>
              <ac:spMk id="2" creationId="{11D16D8F-FBCD-5484-14B1-9926AC3C4559}"/>
            </ac:spMkLst>
          </pc:spChg>
          <pc:spChg chg="mod">
            <ac:chgData name="Arpeet Ravalji" userId="df719f9b-84be-434e-befd-b29d0109c5c9" providerId="ADAL" clId="{36F38CD0-4B66-4201-818C-0A1F018B8219}" dt="2024-10-03T15:54:07.493" v="200" actId="948"/>
            <ac:spMkLst>
              <pc:docMk/>
              <pc:sldMasterMk cId="2162098864" sldId="2147483704"/>
              <pc:sldLayoutMk cId="1711417459" sldId="2147483715"/>
              <ac:spMk id="14" creationId="{A0F52ABD-8248-4CFD-BBB1-C4BF7477C72F}"/>
            </ac:spMkLst>
          </pc:spChg>
          <pc:graphicFrameChg chg="mod">
            <ac:chgData name="Arpeet Ravalji" userId="df719f9b-84be-434e-befd-b29d0109c5c9" providerId="ADAL" clId="{36F38CD0-4B66-4201-818C-0A1F018B8219}" dt="2024-10-03T15:54:07.541" v="247"/>
            <ac:graphicFrameMkLst>
              <pc:docMk/>
              <pc:sldMasterMk cId="2162098864" sldId="2147483704"/>
              <pc:sldLayoutMk cId="1711417459" sldId="2147483715"/>
              <ac:graphicFrameMk id="7" creationId="{7312070A-9FC0-49BB-A558-0E1B08B4D400}"/>
            </ac:graphicFrameMkLst>
          </pc:graphicFrameChg>
        </pc:sldLayoutChg>
      </pc:sldMasterChg>
    </pc:docChg>
  </pc:docChgLst>
</pc:chgInfo>
</file>

<file path=ppt/comments/modernComment_7FFFD724_E3B3D3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03128FA-D14A-4225-9FD1-8B0FCC007C59}" authorId="{0539C348-D128-4CEF-B216-B6B6FFAC867D}" created="2024-09-17T16:50:31.956">
    <pc:sldMkLst xmlns:pc="http://schemas.microsoft.com/office/powerpoint/2013/main/command">
      <pc:docMk/>
      <pc:sldMk cId="3820213103" sldId="2147473188"/>
    </pc:sldMkLst>
    <p188:txBody>
      <a:bodyPr/>
      <a:lstStyle/>
      <a:p>
        <a:r>
          <a:rPr lang="en-US"/>
          <a:t>Should we add the GDS team that worked on this?</a:t>
        </a:r>
      </a:p>
    </p188:txBody>
  </p188:cm>
</p188:cmLst>
</file>

<file path=ppt/comments/modernComment_7FFFD731_8AA9026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43CC494-E28D-4357-9BF0-59A806AF6DF6}" authorId="{A963324B-DD73-D99A-06EE-88B4843EC1B6}" created="2024-09-11T18:28:12.919">
    <pc:sldMkLst xmlns:pc="http://schemas.microsoft.com/office/powerpoint/2013/main/command">
      <pc:docMk/>
      <pc:sldMk cId="2331513863" sldId="583"/>
    </pc:sldMkLst>
    <p188:txBody>
      <a:bodyPr/>
      <a:lstStyle/>
      <a:p>
        <a:r>
          <a:rPr lang="en-US"/>
          <a:t>Change to "Added Dynamic Slicers across all views"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BC2B2-86E4-45E9-BA26-043D038546C7}" type="datetimeFigureOut">
              <a:rPr lang="en-GB" smtClean="0"/>
              <a:t>23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46D41B-D221-46C1-8313-0E83A592E1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403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939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ynamic Top Movers</a:t>
            </a:r>
          </a:p>
          <a:p>
            <a:r>
              <a:rPr lang="en-US" err="1"/>
              <a:t>Datamodel</a:t>
            </a:r>
            <a:r>
              <a:rPr lang="en-US"/>
              <a:t> with better usability</a:t>
            </a:r>
          </a:p>
          <a:p>
            <a:r>
              <a:rPr lang="en-US"/>
              <a:t>Level 3 Retention</a:t>
            </a:r>
          </a:p>
          <a:p>
            <a:r>
              <a:rPr lang="en-US"/>
              <a:t>Renewal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1282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ynamic Top Movers</a:t>
            </a:r>
          </a:p>
          <a:p>
            <a:r>
              <a:rPr lang="en-US" err="1"/>
              <a:t>Datamodel</a:t>
            </a:r>
            <a:r>
              <a:rPr lang="en-US"/>
              <a:t> with better usability</a:t>
            </a:r>
          </a:p>
          <a:p>
            <a:r>
              <a:rPr lang="en-US"/>
              <a:t>Level 3 Retention</a:t>
            </a:r>
          </a:p>
          <a:p>
            <a:r>
              <a:rPr lang="en-US"/>
              <a:t>Renewal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968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735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0316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326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566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ynamic Top Movers</a:t>
            </a:r>
          </a:p>
          <a:p>
            <a:r>
              <a:rPr lang="en-US" err="1"/>
              <a:t>Datamodel</a:t>
            </a:r>
            <a:r>
              <a:rPr lang="en-US"/>
              <a:t> with better usability</a:t>
            </a:r>
          </a:p>
          <a:p>
            <a:r>
              <a:rPr lang="en-US"/>
              <a:t>Level 3 Retention</a:t>
            </a:r>
          </a:p>
          <a:p>
            <a:r>
              <a:rPr lang="en-US"/>
              <a:t>Renewal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712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9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slide" Target="../slides/slide1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slide" Target="../slides/slide1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" Target="../slides/slide1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3.jpe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6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7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9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">
            <a:extLst>
              <a:ext uri="{FF2B5EF4-FFF2-40B4-BE49-F238E27FC236}">
                <a16:creationId xmlns:a16="http://schemas.microsoft.com/office/drawing/2014/main" id="{873F6EA4-7155-4C01-BE99-DBE3DE7335F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59212C91-34F6-42AD-AF72-BBFA8783B6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9" name="Logo Text">
              <a:extLst>
                <a:ext uri="{FF2B5EF4-FFF2-40B4-BE49-F238E27FC236}">
                  <a16:creationId xmlns:a16="http://schemas.microsoft.com/office/drawing/2014/main" id="{DF13958F-4151-4B00-B3F4-FE3E305F48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0" name="EY Panel">
            <a:extLst>
              <a:ext uri="{FF2B5EF4-FFF2-40B4-BE49-F238E27FC236}">
                <a16:creationId xmlns:a16="http://schemas.microsoft.com/office/drawing/2014/main" id="{FF3B1DED-97B0-4AD2-86FF-EC83FC583AE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93723" y="358772"/>
            <a:ext cx="5508626" cy="459413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5B94D6F-F712-4497-8E8E-E4525831D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6137" y="1655763"/>
            <a:ext cx="4830762" cy="1368000"/>
          </a:xfrm>
        </p:spPr>
        <p:txBody>
          <a:bodyPr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38B462-C28E-4936-9555-D74BE5BA97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6137" y="3219317"/>
            <a:ext cx="4830762" cy="504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1" name="Reliance Restricted">
            <a:extLst>
              <a:ext uri="{FF2B5EF4-FFF2-40B4-BE49-F238E27FC236}">
                <a16:creationId xmlns:a16="http://schemas.microsoft.com/office/drawing/2014/main" id="{CACD9C5F-5902-47D7-8CFA-ACD1F7143B11}"/>
              </a:ext>
            </a:extLst>
          </p:cNvPr>
          <p:cNvSpPr txBox="1">
            <a:spLocks/>
          </p:cNvSpPr>
          <p:nvPr userDrawn="1"/>
        </p:nvSpPr>
        <p:spPr>
          <a:xfrm>
            <a:off x="846138" y="3929240"/>
            <a:ext cx="4830762" cy="246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liance Restricted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711DC92-80F6-4E1F-8471-2182045D2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6137" y="4376364"/>
            <a:ext cx="4830762" cy="252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/>
              <a:t>XX Month 20XX | Version XX (Draft)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C04DC270-BFBB-4368-B5C1-F36B628CF5E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BC76B78-C739-49A3-960A-8E8C812DB3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18E9186B-DFB2-72EE-BCBA-BD77E30629BC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7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9" y="1476375"/>
            <a:ext cx="6300000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60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32014067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9" y="1476375"/>
            <a:ext cx="6300000" cy="5543550"/>
          </a:xfrm>
        </p:spPr>
        <p:txBody>
          <a:bodyPr numCol="2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6000" cy="5543550"/>
          </a:xfrm>
        </p:spPr>
        <p:txBody>
          <a:bodyPr wrap="square" numCol="1" spcCol="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87859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002089" y="1476375"/>
            <a:ext cx="3096000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63000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019030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with lef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464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34623322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476375"/>
            <a:ext cx="3095625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3CF7E5-2EFE-417A-BF99-C724B07B5FB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002464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8285636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476375"/>
            <a:ext cx="630237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5" y="1476375"/>
            <a:ext cx="149225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9" y="1476375"/>
            <a:ext cx="149225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8294441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conclusion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62992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6299200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35547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9504363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4" y="1680354"/>
            <a:ext cx="9504363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4" y="1366838"/>
            <a:ext cx="9504363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83061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8" y="1800225"/>
            <a:ext cx="6300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6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23294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two columns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8" y="1800225"/>
            <a:ext cx="6300000" cy="5219700"/>
          </a:xfrm>
        </p:spPr>
        <p:txBody>
          <a:bodyPr numCol="2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6000" cy="5219700"/>
          </a:xfrm>
        </p:spPr>
        <p:txBody>
          <a:bodyPr numCol="1" spcCol="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3215174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12" name="Reliance Restricted">
            <a:extLst>
              <a:ext uri="{FF2B5EF4-FFF2-40B4-BE49-F238E27FC236}">
                <a16:creationId xmlns:a16="http://schemas.microsoft.com/office/drawing/2014/main" id="{074560B9-5BD6-4FF9-AFB3-18E313A62F43}"/>
              </a:ext>
            </a:extLst>
          </p:cNvPr>
          <p:cNvSpPr txBox="1"/>
          <p:nvPr userDrawn="1"/>
        </p:nvSpPr>
        <p:spPr>
          <a:xfrm>
            <a:off x="3005138" y="360764"/>
            <a:ext cx="2284412" cy="1538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None/>
            </a:pPr>
            <a:r>
              <a:rPr lang="en-GB" sz="1000" b="1" kern="0" noProof="0">
                <a:solidFill>
                  <a:srgbClr val="2E2E38"/>
                </a:solidFill>
                <a:latin typeface="+mn-lt"/>
                <a:cs typeface="Arial" panose="020B0604020202020204" pitchFamily="34" charset="0"/>
              </a:rPr>
              <a:t>Reliance Restrict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BF651E-9BF5-4DF1-A9C1-299577E73E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5138" y="1655763"/>
            <a:ext cx="4681537" cy="287337"/>
          </a:xfrm>
        </p:spPr>
        <p:txBody>
          <a:bodyPr anchor="t">
            <a:noAutofit/>
          </a:bodyPr>
          <a:lstStyle>
            <a:lvl1pPr>
              <a:defRPr sz="1100" b="1"/>
            </a:lvl1pPr>
          </a:lstStyle>
          <a:p>
            <a:pPr lvl="0"/>
            <a:r>
              <a:rPr lang="en-GB"/>
              <a:t>Project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F50F3ED-EEC0-42AC-ACFD-9B32E91D6D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94625" y="1655763"/>
            <a:ext cx="2303463" cy="287337"/>
          </a:xfrm>
        </p:spPr>
        <p:txBody>
          <a:bodyPr anchor="t">
            <a:noAutofit/>
          </a:bodyPr>
          <a:lstStyle>
            <a:lvl1pPr algn="r">
              <a:defRPr sz="1100" b="1"/>
            </a:lvl1pPr>
          </a:lstStyle>
          <a:p>
            <a:pPr lvl="0"/>
            <a:r>
              <a:rPr lang="en-GB"/>
              <a:t>dd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2051049"/>
            <a:ext cx="7092950" cy="496887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61CFA5D-C961-469B-BD6A-2110A0177B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5138" y="593725"/>
            <a:ext cx="4681537" cy="882650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en-GB"/>
              <a:t>Put the client contact name and address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763A5A5-0D0E-47DF-AC91-7CFEFB3F73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25" y="3260895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EACDA65-365B-4B85-AD46-654A3F5316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3725" y="3471207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63191263-261E-4143-A475-9D552C804A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725" y="3096303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E8881A19-C392-4443-B900-6599F53134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3725" y="448058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35E1077-1D62-4FED-A5EB-E30FCE9B73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3725" y="469089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BF675033-102C-44BE-A068-3E871AB4D9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3725" y="4312455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C17C35C2-3199-48A4-B484-8B34BB03B1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3725" y="5510319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2E29F7A9-C6E1-469A-A193-F90CD26595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3725" y="567775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2E766C8B-0E5D-445B-AA29-5779FAA484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3725" y="588806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5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BF1264B-BCD2-70BF-5859-B02A373D4858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0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002087" y="1800225"/>
            <a:ext cx="3096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7002463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2463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6300000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58052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3688" y="1800225"/>
            <a:ext cx="46944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5400676" y="1681874"/>
            <a:ext cx="4697412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087" y="1366838"/>
            <a:ext cx="4699001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4695032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4697413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4695032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1818562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800225"/>
            <a:ext cx="3095625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3798888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98888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5625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763"/>
            <a:ext cx="3095625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3" y="1800225"/>
            <a:ext cx="3095625" cy="521894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5" name="Straight Connector_Sub Headline 1">
            <a:extLst>
              <a:ext uri="{FF2B5EF4-FFF2-40B4-BE49-F238E27FC236}">
                <a16:creationId xmlns:a16="http://schemas.microsoft.com/office/drawing/2014/main" id="{54985A9F-20EC-48DC-87A6-164C5AE5B336}"/>
              </a:ext>
            </a:extLst>
          </p:cNvPr>
          <p:cNvCxnSpPr>
            <a:cxnSpLocks/>
          </p:cNvCxnSpPr>
          <p:nvPr userDrawn="1"/>
        </p:nvCxnSpPr>
        <p:spPr>
          <a:xfrm flipV="1">
            <a:off x="7002464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95C42B2-1EB4-4113-8219-DE5EA43FA3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2464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6519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8386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9222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2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9053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3 lay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3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7596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F58689-F86C-4A88-A73B-29A1C64653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403057" y="1366838"/>
            <a:ext cx="4695032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870D7D3-288E-4C24-B4AA-316E3564D2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4699001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61850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7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089" y="1366838"/>
            <a:ext cx="3096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6300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126829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089" y="1366838"/>
            <a:ext cx="3096000" cy="5653087"/>
          </a:xfrm>
          <a:prstGeom prst="rect">
            <a:avLst/>
          </a:prstGeom>
        </p:spPr>
        <p:txBody>
          <a:bodyPr vert="horz" lIns="0" tIns="0" rIns="0" bIns="0" numCol="1" spcCol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6300000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95640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1655763"/>
            <a:ext cx="7092950" cy="5364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/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E84BB41-EE62-0566-7936-CD6E0D292B5D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46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98089" y="1366838"/>
            <a:ext cx="6300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3096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1248189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98089" y="1366838"/>
            <a:ext cx="6300000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3096000" cy="5653087"/>
          </a:xfrm>
          <a:prstGeom prst="rect">
            <a:avLst/>
          </a:prstGeom>
        </p:spPr>
        <p:txBody>
          <a:bodyPr vert="horz" lIns="0" tIns="0" rIns="0" bIns="0" numCol="1" spcCol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746534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366838"/>
            <a:ext cx="309562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366838"/>
            <a:ext cx="3095625" cy="5653087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4" y="1366838"/>
            <a:ext cx="309562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34713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-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366838"/>
            <a:ext cx="630237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5" y="1366838"/>
            <a:ext cx="1492250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9" y="1366838"/>
            <a:ext cx="1492250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894129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</p:spTree>
    <p:extLst>
      <p:ext uri="{BB962C8B-B14F-4D97-AF65-F5344CB8AC3E}">
        <p14:creationId xmlns:p14="http://schemas.microsoft.com/office/powerpoint/2010/main" val="31194765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CFC3544A-3892-250B-1086-CA87DFBF6F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10306" y="3032402"/>
            <a:ext cx="830652" cy="29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796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</p:spTree>
    <p:extLst>
      <p:ext uri="{BB962C8B-B14F-4D97-AF65-F5344CB8AC3E}">
        <p14:creationId xmlns:p14="http://schemas.microsoft.com/office/powerpoint/2010/main" val="28420318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</p:spTree>
    <p:extLst>
      <p:ext uri="{BB962C8B-B14F-4D97-AF65-F5344CB8AC3E}">
        <p14:creationId xmlns:p14="http://schemas.microsoft.com/office/powerpoint/2010/main" val="26350667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434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0DB3375E-6F3C-490C-BBB3-290683AC392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6" name="Logo Beam">
              <a:extLst>
                <a:ext uri="{FF2B5EF4-FFF2-40B4-BE49-F238E27FC236}">
                  <a16:creationId xmlns:a16="http://schemas.microsoft.com/office/drawing/2014/main" id="{D23C0C13-CE26-4187-AC79-D677F79203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" name="Logo Text">
              <a:extLst>
                <a:ext uri="{FF2B5EF4-FFF2-40B4-BE49-F238E27FC236}">
                  <a16:creationId xmlns:a16="http://schemas.microsoft.com/office/drawing/2014/main" id="{D1BA258E-9883-4D54-82A3-D35D28C11E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1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659E3031-CD1C-BD8F-6CA6-43F1D8197EB2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07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3018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meric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Back cover A4 - Americas">
            <a:extLst>
              <a:ext uri="{FF2B5EF4-FFF2-40B4-BE49-F238E27FC236}">
                <a16:creationId xmlns:a16="http://schemas.microsoft.com/office/drawing/2014/main" id="{9227890F-F63D-4E15-8F1E-866191DA6639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10691813" cy="7559675"/>
            <a:chOff x="0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206F36-D856-4FC3-AA03-C9A6630FEA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0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EFC29266-C4B6-4F86-9A31-9C829A8BF3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3000153D-B4A6-4060-A44F-74AA305F7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9AB1B0F2-CDFC-4607-90D5-C6C22CEF42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DB611179-E28D-B96F-FCC7-003447B6D214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9538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P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Back cover A4 - APAC">
            <a:extLst>
              <a:ext uri="{FF2B5EF4-FFF2-40B4-BE49-F238E27FC236}">
                <a16:creationId xmlns:a16="http://schemas.microsoft.com/office/drawing/2014/main" id="{E793FD12-CA5A-4F58-9A40-26BC0C029881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-1"/>
            <a:ext cx="10691813" cy="7559675"/>
            <a:chOff x="-1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E8E09DD-B4EB-4A35-8BD9-F3562C40C0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DB07DACC-08EF-48FA-A7A4-BCD72D49F1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54EA3D94-54DC-46E8-B8E5-86F2DAEFB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6D9163B3-1E2C-4E6A-B7E0-F937C57852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307CC99D-1895-ED8B-77EC-94118B4D9DD1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7861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EME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4" name="Back cover A4 - EMEIA">
            <a:extLst>
              <a:ext uri="{FF2B5EF4-FFF2-40B4-BE49-F238E27FC236}">
                <a16:creationId xmlns:a16="http://schemas.microsoft.com/office/drawing/2014/main" id="{C99EBA48-C5B3-4735-97C3-3274F70A3B66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-1" y="0"/>
            <a:ext cx="10691813" cy="7559675"/>
            <a:chOff x="-1" y="0"/>
            <a:chExt cx="10691813" cy="755967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339BCC4-189B-40A6-BA10-76EA6B923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6" name="Logo">
              <a:extLst>
                <a:ext uri="{FF2B5EF4-FFF2-40B4-BE49-F238E27FC236}">
                  <a16:creationId xmlns:a16="http://schemas.microsoft.com/office/drawing/2014/main" id="{7BD8DA88-C40F-4234-B44A-A9669A7E62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7" name="Logo Beam">
                <a:extLst>
                  <a:ext uri="{FF2B5EF4-FFF2-40B4-BE49-F238E27FC236}">
                    <a16:creationId xmlns:a16="http://schemas.microsoft.com/office/drawing/2014/main" id="{89FA7AC0-3CA9-4D1A-87B0-E8B3F24DA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8" name="Logo Text">
                <a:extLst>
                  <a:ext uri="{FF2B5EF4-FFF2-40B4-BE49-F238E27FC236}">
                    <a16:creationId xmlns:a16="http://schemas.microsoft.com/office/drawing/2014/main" id="{487F120E-598B-4462-9318-91BB3541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BF981192-9F43-5147-A912-B9F6F7249F8F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131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772767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18" progId="TCLayout.ActiveDocument.1">
                  <p:embed/>
                </p:oleObj>
              </mc:Choice>
              <mc:Fallback>
                <p:oleObj name="think-cell Slid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0"/>
            <a:ext cx="10691813" cy="7569178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5840" y="4176715"/>
            <a:ext cx="3977506" cy="116372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63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5605474"/>
            <a:ext cx="946616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5036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AD4B0E-4E52-D9B9-93F7-C6B52E65C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129319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D4B0E-4E52-D9B9-93F7-C6B52E65C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591" y="1254346"/>
            <a:ext cx="7221232" cy="53294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57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27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05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831627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D6E81A0-F043-950E-463F-67373E7B0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002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4018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 | TMT Enabler Update V4+ |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34590" y="1254346"/>
            <a:ext cx="7235305" cy="5452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37937" marR="0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448045" marR="0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653979" marR="0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827909" marR="0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37937" marR="0" lvl="1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448045" marR="0" lvl="2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7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653979" marR="0" lvl="3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827909" marR="0" lvl="4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FBB59D39-6114-41B0-8E75-E6A062D8042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1000626"/>
            <a:ext cx="946616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07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988378C-0B11-4281-8D58-8B1068777AE4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17C064-C2BC-48FA-A33F-E4B41439E8B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795322" y="2097551"/>
            <a:ext cx="701700" cy="220060"/>
          </a:xfrm>
          <a:prstGeom prst="rect">
            <a:avLst/>
          </a:prstGeom>
          <a:noFill/>
        </p:spPr>
        <p:txBody>
          <a:bodyPr wrap="square" lIns="0" tIns="36576" rIns="0" bIns="0" rtlCol="0" anchor="b">
            <a:spAutoFit/>
          </a:bodyPr>
          <a:lstStyle/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400">
                <a:solidFill>
                  <a:schemeClr val="bg1"/>
                </a:solidFill>
              </a:rPr>
              <a:t>2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EB948-550A-473A-9A12-9754DAA66C38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3" y="4472149"/>
            <a:ext cx="9504364" cy="54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600"/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91CF0-7B6D-42AB-99D2-FD1868F0E4B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593724" y="1366838"/>
            <a:ext cx="9504365" cy="56530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9" name="TextBox 34">
            <a:hlinkClick r:id="rId12" action="ppaction://hlinksldjump"/>
            <a:extLst>
              <a:ext uri="{FF2B5EF4-FFF2-40B4-BE49-F238E27FC236}">
                <a16:creationId xmlns:a16="http://schemas.microsoft.com/office/drawing/2014/main" id="{56F2F4F3-6632-4901-9A7C-4B998448CF25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93724" y="1763713"/>
            <a:ext cx="904914" cy="553998"/>
          </a:xfrm>
          <a:prstGeom prst="rect">
            <a:avLst/>
          </a:prstGeom>
          <a:blipFill>
            <a:blip r:embed="rId13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4800" b="1">
                <a:solidFill>
                  <a:schemeClr val="bg1"/>
                </a:solidFill>
                <a:latin typeface="+mj-lt"/>
              </a:rPr>
              <a:t>11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6CCBEF7-179C-4122-BF4E-49FDED6C6154}"/>
              </a:ext>
            </a:extLst>
          </p:cNvPr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93724" y="2692084"/>
            <a:ext cx="648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Garamond" pitchFamily="18" charset="0"/>
              </a:rPr>
              <a:t>1.1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E681E22C-28F9-4932-8F1F-5AA30782F68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0098434" y="1763613"/>
            <a:ext cx="36000" cy="553998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chemeClr val="accent2"/>
              </a:buClr>
              <a:buSzPct val="70000"/>
            </a:pPr>
            <a:r>
              <a:rPr lang="en-GB" sz="14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A63E7758-C9CA-44F6-BA27-B3F566723D4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477511" y="1763613"/>
            <a:ext cx="8568000" cy="553998"/>
          </a:xfrm>
          <a:prstGeom prst="rect">
            <a:avLst/>
          </a:prstGeom>
          <a:noFill/>
        </p:spPr>
        <p:txBody>
          <a:bodyPr wrap="square" lIns="144000" tIns="0" rIns="75600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2633A7-8D14-43D7-8E77-F61E82A4FF4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477513" y="3491805"/>
            <a:ext cx="8260882" cy="180020"/>
          </a:xfrm>
          <a:prstGeom prst="rect">
            <a:avLst/>
          </a:prstGeom>
          <a:noFill/>
        </p:spPr>
        <p:txBody>
          <a:bodyPr vert="horz" wrap="square" lIns="144000" tIns="0" rIns="756000" bIns="0" rtlCol="0">
            <a:noAutofit/>
          </a:bodyPr>
          <a:lstStyle>
            <a:defPPr>
              <a:defRPr lang="en-US"/>
            </a:defPPr>
            <a:lvl1pPr lv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sz="1200">
                <a:solidFill>
                  <a:schemeClr val="bg1"/>
                </a:solidFill>
              </a:rPr>
              <a:t>A</a:t>
            </a: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3BE3C8-73C4-4098-B34A-F1AEA0B4EBE2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98434" y="3491805"/>
            <a:ext cx="36000" cy="180020"/>
          </a:xfrm>
          <a:prstGeom prst="rect">
            <a:avLst/>
          </a:prstGeom>
          <a:noFill/>
        </p:spPr>
        <p:txBody>
          <a:bodyPr wrap="none" lIns="0" tIns="0" rIns="108000" bIns="0" rtlCol="0" anchor="t">
            <a:noAutofit/>
          </a:bodyPr>
          <a:lstStyle>
            <a:defPPr>
              <a:defRPr lang="en-US"/>
            </a:defPPr>
            <a:lvl1pPr lvl="0" algn="r"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4F3CAF-29A6-AB96-B529-CE133E143C4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985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9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7506B3D-2B5F-43DE-96E3-1C3A356F0E6A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A84CC-BB7A-4CE9-A56A-CA1D12DDD2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7532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7" name="Slide title">
            <a:extLst>
              <a:ext uri="{FF2B5EF4-FFF2-40B4-BE49-F238E27FC236}">
                <a16:creationId xmlns:a16="http://schemas.microsoft.com/office/drawing/2014/main" id="{336A6FD8-F7D5-4CF5-98A9-3942D0773A66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/>
          <a:p>
            <a:pPr algn="l"/>
            <a:r>
              <a:rPr lang="en-GB" sz="1400"/>
              <a:t>A</a:t>
            </a:r>
          </a:p>
        </p:txBody>
      </p:sp>
      <p:sp>
        <p:nvSpPr>
          <p:cNvPr id="24" name="Slide page number">
            <a:extLst>
              <a:ext uri="{FF2B5EF4-FFF2-40B4-BE49-F238E27FC236}">
                <a16:creationId xmlns:a16="http://schemas.microsoft.com/office/drawing/2014/main" id="{952DE640-3D64-4CCD-A316-E0D9EAF5D76E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square" lIns="0" tIns="0" rIns="108000" bIns="0" rtlCol="0">
            <a:noAutofit/>
          </a:bodyPr>
          <a:lstStyle/>
          <a:p>
            <a:pPr algn="r"/>
            <a:r>
              <a:rPr lang="en-GB" sz="1400"/>
              <a:t>4</a:t>
            </a:r>
          </a:p>
        </p:txBody>
      </p:sp>
      <p:sp>
        <p:nvSpPr>
          <p:cNvPr id="25" name="Zone de tracé">
            <a:extLst>
              <a:ext uri="{FF2B5EF4-FFF2-40B4-BE49-F238E27FC236}">
                <a16:creationId xmlns:a16="http://schemas.microsoft.com/office/drawing/2014/main" id="{E455527E-A4BC-484D-A81F-FAD3EB8D751E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26" name="Section page number">
            <a:extLst>
              <a:ext uri="{FF2B5EF4-FFF2-40B4-BE49-F238E27FC236}">
                <a16:creationId xmlns:a16="http://schemas.microsoft.com/office/drawing/2014/main" id="{DCB2BDA0-D65D-4D09-9CF8-BA2B15CE0162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0098088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>
                <a:noFill/>
              </a:rPr>
              <a:t>4</a:t>
            </a:r>
          </a:p>
        </p:txBody>
      </p:sp>
      <p:sp>
        <p:nvSpPr>
          <p:cNvPr id="27" name="Section num">
            <a:hlinkClick r:id="rId13" action="ppaction://hlinksldjump"/>
            <a:extLst>
              <a:ext uri="{FF2B5EF4-FFF2-40B4-BE49-F238E27FC236}">
                <a16:creationId xmlns:a16="http://schemas.microsoft.com/office/drawing/2014/main" id="{4667D5FC-8E20-4327-832D-2BC4E0D0FF0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90400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>
                <a:solidFill>
                  <a:srgbClr val="747480">
                    <a:alpha val="84000"/>
                  </a:srgbClr>
                </a:solidFill>
              </a:rPr>
              <a:t>1</a:t>
            </a:r>
          </a:p>
        </p:txBody>
      </p:sp>
      <p:sp>
        <p:nvSpPr>
          <p:cNvPr id="28" name="Section name">
            <a:extLst>
              <a:ext uri="{FF2B5EF4-FFF2-40B4-BE49-F238E27FC236}">
                <a16:creationId xmlns:a16="http://schemas.microsoft.com/office/drawing/2014/main" id="{5998218C-3B21-4FBD-B632-D2888E36AF11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3724" y="3852888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/>
              <a:t>A</a:t>
            </a:r>
          </a:p>
        </p:txBody>
      </p:sp>
      <p:sp>
        <p:nvSpPr>
          <p:cNvPr id="30" name="Subsection index">
            <a:extLst>
              <a:ext uri="{FF2B5EF4-FFF2-40B4-BE49-F238E27FC236}">
                <a16:creationId xmlns:a16="http://schemas.microsoft.com/office/drawing/2014/main" id="{3F2820DF-AEBC-43AD-BB3A-485D6F86413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593724" y="3852888"/>
            <a:ext cx="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+mn-lt"/>
              </a:rPr>
              <a:t>1.1</a:t>
            </a:r>
          </a:p>
        </p:txBody>
      </p:sp>
      <p:sp>
        <p:nvSpPr>
          <p:cNvPr id="31" name="Subsection page number">
            <a:extLst>
              <a:ext uri="{FF2B5EF4-FFF2-40B4-BE49-F238E27FC236}">
                <a16:creationId xmlns:a16="http://schemas.microsoft.com/office/drawing/2014/main" id="{71308BC8-AD29-4F67-AB59-69065E6302F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/>
              <a:t>A</a:t>
            </a:r>
          </a:p>
        </p:txBody>
      </p:sp>
      <p:sp>
        <p:nvSpPr>
          <p:cNvPr id="32" name="Subsection name">
            <a:extLst>
              <a:ext uri="{FF2B5EF4-FFF2-40B4-BE49-F238E27FC236}">
                <a16:creationId xmlns:a16="http://schemas.microsoft.com/office/drawing/2014/main" id="{AB49274D-3C71-4A37-8A5D-BCE1AA32E29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/>
              <a:t>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43C920-C7BA-ACF6-B6B2-F67DCA4C442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50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AA2A83-0961-49D8-BD15-0A012085E612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/>
          </a:p>
        </p:txBody>
      </p:sp>
      <p:sp>
        <p:nvSpPr>
          <p:cNvPr id="14" name="Zone de tracé">
            <a:extLst>
              <a:ext uri="{FF2B5EF4-FFF2-40B4-BE49-F238E27FC236}">
                <a16:creationId xmlns:a16="http://schemas.microsoft.com/office/drawing/2014/main" id="{2F503CBF-23C5-4C74-BE2C-42EE98FFE4A6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8FBF30B0-A03B-4E79-BF59-945C05E06C4C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93724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>
                <a:noFill/>
                <a:latin typeface="+mj-lt"/>
              </a:rPr>
              <a:t>1</a:t>
            </a:r>
          </a:p>
        </p:txBody>
      </p:sp>
      <p:sp>
        <p:nvSpPr>
          <p:cNvPr id="16" name="Section name">
            <a:extLst>
              <a:ext uri="{FF2B5EF4-FFF2-40B4-BE49-F238E27FC236}">
                <a16:creationId xmlns:a16="http://schemas.microsoft.com/office/drawing/2014/main" id="{CB038292-B2CE-47AA-8142-6967A4C383D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 flipH="1">
            <a:off x="593376" y="3784478"/>
            <a:ext cx="9506847" cy="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" b="1">
                <a:noFill/>
                <a:latin typeface="+mj-lt"/>
              </a:rPr>
              <a:t>A</a:t>
            </a:r>
          </a:p>
        </p:txBody>
      </p:sp>
      <p:sp>
        <p:nvSpPr>
          <p:cNvPr id="17" name="Slide page number">
            <a:extLst>
              <a:ext uri="{FF2B5EF4-FFF2-40B4-BE49-F238E27FC236}">
                <a16:creationId xmlns:a16="http://schemas.microsoft.com/office/drawing/2014/main" id="{E2359BE7-7148-4D15-88E2-89C61B3B694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/>
              <a:t>4</a:t>
            </a:r>
          </a:p>
        </p:txBody>
      </p:sp>
      <p:sp>
        <p:nvSpPr>
          <p:cNvPr id="18" name="Subsection index">
            <a:hlinkClick r:id="rId12" action="ppaction://hlinksldjump"/>
            <a:extLst>
              <a:ext uri="{FF2B5EF4-FFF2-40B4-BE49-F238E27FC236}">
                <a16:creationId xmlns:a16="http://schemas.microsoft.com/office/drawing/2014/main" id="{1E182D62-5062-4078-85BD-8DAC8EEF9F5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91238" y="3784992"/>
            <a:ext cx="0" cy="0"/>
          </a:xfrm>
          <a:prstGeom prst="rect">
            <a:avLst/>
          </a:prstGeom>
          <a:noFill/>
        </p:spPr>
        <p:txBody>
          <a:bodyPr vert="horz" wrap="non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>
                <a:solidFill>
                  <a:srgbClr val="747480">
                    <a:alpha val="84000"/>
                  </a:srgbClr>
                </a:solidFill>
              </a:rPr>
              <a:t>1.1</a:t>
            </a:r>
          </a:p>
        </p:txBody>
      </p:sp>
      <p:sp>
        <p:nvSpPr>
          <p:cNvPr id="19" name="Subsection name">
            <a:hlinkClick r:id="rId12" action="ppaction://hlinksldjump"/>
            <a:extLst>
              <a:ext uri="{FF2B5EF4-FFF2-40B4-BE49-F238E27FC236}">
                <a16:creationId xmlns:a16="http://schemas.microsoft.com/office/drawing/2014/main" id="{0912199B-F3FA-4468-A0F8-EAAF0F7A6A9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93378" y="3795470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/>
              <a:t>A</a:t>
            </a:r>
          </a:p>
        </p:txBody>
      </p:sp>
      <p:sp>
        <p:nvSpPr>
          <p:cNvPr id="20" name="Section  page number">
            <a:extLst>
              <a:ext uri="{FF2B5EF4-FFF2-40B4-BE49-F238E27FC236}">
                <a16:creationId xmlns:a16="http://schemas.microsoft.com/office/drawing/2014/main" id="{509906C5-365B-4024-9E89-BC86D78649A2}"/>
              </a:ext>
            </a:extLst>
          </p:cNvPr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098088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+mn-lt"/>
              </a:rPr>
              <a:t>1.1</a:t>
            </a:r>
          </a:p>
        </p:txBody>
      </p:sp>
      <p:sp>
        <p:nvSpPr>
          <p:cNvPr id="21" name="Subsection number page">
            <a:extLst>
              <a:ext uri="{FF2B5EF4-FFF2-40B4-BE49-F238E27FC236}">
                <a16:creationId xmlns:a16="http://schemas.microsoft.com/office/drawing/2014/main" id="{0A698E57-09FC-450F-B973-E8C0FBF9FE5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044088" y="3852888"/>
            <a:ext cx="54000" cy="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 b="1">
                <a:noFill/>
                <a:latin typeface="+mj-lt"/>
              </a:rPr>
              <a:t>1</a:t>
            </a:r>
          </a:p>
        </p:txBody>
      </p:sp>
      <p:sp>
        <p:nvSpPr>
          <p:cNvPr id="22" name="Slide title">
            <a:extLst>
              <a:ext uri="{FF2B5EF4-FFF2-40B4-BE49-F238E27FC236}">
                <a16:creationId xmlns:a16="http://schemas.microsoft.com/office/drawing/2014/main" id="{B4A83DB4-2B96-4270-8297-8A781AEE65B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/>
              <a:t>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69E349-D824-B5CA-D9F5-6244DDCEC86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873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6322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02AF90A-5467-4FD7-81C7-3FF6097B735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99440" y="291356"/>
            <a:ext cx="6295072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000" b="1">
                <a:solidFill>
                  <a:schemeClr val="bg1"/>
                </a:solidFill>
                <a:latin typeface="+mj-lt"/>
              </a:rPr>
              <a:t>&lt;%SUBSECNUMELSESECNUM%&gt;&lt;%DOTIFSUBSECORSECNUM%&gt;&lt;%SPACEIFSUBSECORSECNUM%&gt;&lt;%SUBSECNAMEELSESECNAME%&gt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8C30C1-A6C1-2F22-198B-1793B6AA4B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5456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Slide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her Sections" descr="{ &quot;DisplayMode&quot; : &quot;SectionsOnly&quot; , &quot;TrimTitles&quot; : &quot;True&quot; }">
            <a:extLst>
              <a:ext uri="{FF2B5EF4-FFF2-40B4-BE49-F238E27FC236}">
                <a16:creationId xmlns:a16="http://schemas.microsoft.com/office/drawing/2014/main" id="{18E6468C-D0C4-461D-A3D3-7D0CDE22F54C}"/>
              </a:ext>
            </a:extLst>
          </p:cNvPr>
          <p:cNvSpPr txBox="1"/>
          <p:nvPr userDrawn="1"/>
        </p:nvSpPr>
        <p:spPr>
          <a:xfrm>
            <a:off x="594000" y="179388"/>
            <a:ext cx="792000" cy="320400"/>
          </a:xfrm>
          <a:prstGeom prst="round2SameRect">
            <a:avLst/>
          </a:prstGeom>
          <a:solidFill>
            <a:srgbClr val="C4C4CD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>
                <a:solidFill>
                  <a:schemeClr val="bg1"/>
                </a:solidFill>
              </a:rPr>
              <a:t>Other Sections</a:t>
            </a:r>
          </a:p>
        </p:txBody>
      </p:sp>
      <p:sp>
        <p:nvSpPr>
          <p:cNvPr id="5" name="Current Section">
            <a:extLst>
              <a:ext uri="{FF2B5EF4-FFF2-40B4-BE49-F238E27FC236}">
                <a16:creationId xmlns:a16="http://schemas.microsoft.com/office/drawing/2014/main" id="{C41EC61E-26A4-424C-8C59-3FD6CA01EF14}"/>
              </a:ext>
            </a:extLst>
          </p:cNvPr>
          <p:cNvSpPr txBox="1"/>
          <p:nvPr userDrawn="1"/>
        </p:nvSpPr>
        <p:spPr>
          <a:xfrm>
            <a:off x="1385466" y="179389"/>
            <a:ext cx="792000" cy="320400"/>
          </a:xfrm>
          <a:prstGeom prst="round2SameRect">
            <a:avLst/>
          </a:prstGeom>
          <a:solidFill>
            <a:schemeClr val="tx2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>
                <a:solidFill>
                  <a:schemeClr val="bg1"/>
                </a:solidFill>
              </a:rPr>
              <a:t>Current Sec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784AB8-65DB-8103-69BD-F582DB1343F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3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367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F49A4F40-859E-4EF4-95F4-1C556D78B4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6" y="0"/>
            <a:ext cx="10686841" cy="7559675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76DE017-86A7-4C6D-BB8C-59DE6F188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98382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76DE017-86A7-4C6D-BB8C-59DE6F188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5D5E9AE9-AEC6-45A6-BB0F-E145C7CB6D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3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546005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78" noProof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78" noProof="0"/>
            </a:p>
          </p:txBody>
        </p:sp>
      </p:grp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89136" y="2154167"/>
            <a:ext cx="3794294" cy="1079940"/>
          </a:xfrm>
        </p:spPr>
        <p:txBody>
          <a:bodyPr vert="horz"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9136" y="3357826"/>
            <a:ext cx="3794294" cy="115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BDD42D0-6BC2-486E-A22E-2913772944C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981" y="4280455"/>
            <a:ext cx="4835537" cy="708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520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 | TMT Enabler Update V4+ |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34590" y="1254346"/>
            <a:ext cx="7235305" cy="5452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37937" marR="0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448045" marR="0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653979" marR="0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827909" marR="0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37937" marR="0" lvl="1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448045" marR="0" lvl="2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7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653979" marR="0" lvl="3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827909" marR="0" lvl="4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57002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FA27B8-9154-4F95-8315-DB0CCE984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8950140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18" progId="TCLayout.ActiveDocument.1">
                  <p:embed/>
                </p:oleObj>
              </mc:Choice>
              <mc:Fallback>
                <p:oleObj name="think-cell Slide" r:id="rId3" imgW="352" imgH="31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4FA27B8-9154-4F95-8315-DB0CCE984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20CDEFBF-D514-4A85-8F6B-0A9A6C4F26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0"/>
            <a:ext cx="10691813" cy="7569178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5840" y="4176715"/>
            <a:ext cx="3977506" cy="116372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630"/>
            </a:lvl1pPr>
          </a:lstStyle>
          <a:p>
            <a:pPr lvl="0"/>
            <a:r>
              <a:rPr lang="en-US" noProof="0"/>
              <a:t>Chapter Title</a:t>
            </a:r>
          </a:p>
          <a:p>
            <a:pPr lvl="0"/>
            <a:r>
              <a:rPr lang="en-US" noProof="0"/>
              <a:t>EY Interstate Light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511DE75E-C218-487C-9B44-8A9A7AC1A5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5605474"/>
            <a:ext cx="946616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0526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62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4312" y="4638273"/>
            <a:ext cx="567970" cy="7143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939249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3848B0B-B80F-44E5-9F04-26FD9ABAE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9678" y="454016"/>
            <a:ext cx="5746363" cy="9111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64492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468402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279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2D52DF2-A960-C004-A7EE-7992771A9CAB}"/>
              </a:ext>
            </a:extLst>
          </p:cNvPr>
          <p:cNvGrpSpPr/>
          <p:nvPr userDrawn="1"/>
        </p:nvGrpSpPr>
        <p:grpSpPr>
          <a:xfrm>
            <a:off x="0" y="0"/>
            <a:ext cx="10694598" cy="7566113"/>
            <a:chOff x="0" y="0"/>
            <a:chExt cx="12201527" cy="6863840"/>
          </a:xfrm>
        </p:grpSpPr>
        <p:pic>
          <p:nvPicPr>
            <p:cNvPr id="17" name="Picture 5">
              <a:extLst>
                <a:ext uri="{FF2B5EF4-FFF2-40B4-BE49-F238E27FC236}">
                  <a16:creationId xmlns:a16="http://schemas.microsoft.com/office/drawing/2014/main" id="{4C7BCABB-32D3-42EB-9E03-9DA2EF6103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8350" cy="6863840"/>
            </a:xfrm>
            <a:prstGeom prst="rect">
              <a:avLst/>
            </a:prstGeom>
          </p:spPr>
        </p:pic>
        <p:sp>
          <p:nvSpPr>
            <p:cNvPr id="18" name="Rectangle 1">
              <a:extLst>
                <a:ext uri="{FF2B5EF4-FFF2-40B4-BE49-F238E27FC236}">
                  <a16:creationId xmlns:a16="http://schemas.microsoft.com/office/drawing/2014/main" id="{718D1579-E3C4-443A-89CF-388267001CDE}"/>
                </a:ext>
              </a:extLst>
            </p:cNvPr>
            <p:cNvSpPr/>
            <p:nvPr userDrawn="1"/>
          </p:nvSpPr>
          <p:spPr>
            <a:xfrm flipH="1">
              <a:off x="3176" y="5840"/>
              <a:ext cx="12198351" cy="6858000"/>
            </a:xfrm>
            <a:prstGeom prst="rect">
              <a:avLst/>
            </a:prstGeom>
            <a:gradFill flip="none" rotWithShape="1">
              <a:gsLst>
                <a:gs pos="50000">
                  <a:srgbClr val="000000">
                    <a:alpha val="35000"/>
                  </a:srgbClr>
                </a:gs>
                <a:gs pos="100000">
                  <a:srgbClr val="2E2E38">
                    <a:alpha val="0"/>
                    <a:lumMod val="100000"/>
                  </a:srgbClr>
                </a:gs>
              </a:gsLst>
              <a:lin ang="8100000" scaled="1"/>
              <a:tileRect/>
            </a:gradFill>
            <a:ln w="127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014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57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1B1E4911-762E-4A14-B7E6-C8E2AADAC0C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EC0C40A-F174-4133-BBFC-C328CC1F5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F465BC5-1F48-42E0-85DD-A3B37319B7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B37A6E2-CCA0-4796-8D75-E6205DFAD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A0F52ABD-8248-4CFD-BBB1-C4BF7477C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65161"/>
          </a:xfrm>
        </p:spPr>
        <p:txBody>
          <a:bodyPr vert="horz"/>
          <a:lstStyle>
            <a:lvl1pPr>
              <a:defRPr sz="227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4146C4-1406-4248-9CE2-4F622C7CA9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9622632" cy="5461865"/>
          </a:xfrm>
        </p:spPr>
        <p:txBody>
          <a:bodyPr/>
          <a:lstStyle>
            <a:lvl1pPr marL="312574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753">
                <a:solidFill>
                  <a:schemeClr val="bg1"/>
                </a:solidFill>
              </a:defRPr>
            </a:lvl1pPr>
            <a:lvl2pPr marL="625148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578">
                <a:solidFill>
                  <a:schemeClr val="bg1"/>
                </a:solidFill>
              </a:defRPr>
            </a:lvl2pPr>
            <a:lvl3pPr marL="937722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402">
                <a:solidFill>
                  <a:schemeClr val="bg1"/>
                </a:solidFill>
              </a:defRPr>
            </a:lvl3pPr>
            <a:lvl4pPr marL="1250296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227">
                <a:solidFill>
                  <a:schemeClr val="bg1"/>
                </a:solidFill>
              </a:defRPr>
            </a:lvl4pPr>
            <a:lvl5pPr marL="1562870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052">
                <a:solidFill>
                  <a:schemeClr val="bg1"/>
                </a:solidFill>
              </a:defRPr>
            </a:lvl5pPr>
          </a:lstStyle>
          <a:p>
            <a:pPr marL="312574" marR="0" lvl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625148" marR="0" lvl="1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7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937722" marR="0" lvl="2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250296" marR="0" lvl="3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562870" marR="0" lvl="4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05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4FA71CD7-FAA8-4970-82AF-E318FDDDFD0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1000626"/>
            <a:ext cx="946616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396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534590" y="1254347"/>
            <a:ext cx="4345237" cy="47040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2455" y="4203444"/>
            <a:ext cx="2707739" cy="1984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2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2455" y="4470913"/>
            <a:ext cx="2707739" cy="1984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2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66796" y="3944174"/>
            <a:ext cx="682755" cy="85865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78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6796" y="1254347"/>
            <a:ext cx="4790427" cy="4120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66796" y="1802295"/>
            <a:ext cx="4790427" cy="17764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2"/>
            </a:lvl1pPr>
          </a:lstStyle>
          <a:p>
            <a:pPr lvl="0"/>
            <a:r>
              <a:rPr lang="en-US" noProof="0"/>
              <a:t>Content EY Interstate Light, 16pt, Lorem ipsum dolor, 12pt, </a:t>
            </a:r>
            <a:r>
              <a:rPr lang="en-US" noProof="0" err="1"/>
              <a:t>Utinam</a:t>
            </a:r>
            <a:r>
              <a:rPr lang="en-US" noProof="0"/>
              <a:t> </a:t>
            </a:r>
            <a:r>
              <a:rPr lang="en-US" noProof="0" err="1"/>
              <a:t>nonumy</a:t>
            </a:r>
            <a:r>
              <a:rPr lang="en-US" noProof="0"/>
              <a:t> </a:t>
            </a:r>
            <a:r>
              <a:rPr lang="en-US" noProof="0" err="1"/>
              <a:t>abhorreant</a:t>
            </a:r>
            <a:r>
              <a:rPr lang="en-US" noProof="0"/>
              <a:t> </a:t>
            </a:r>
            <a:r>
              <a:rPr lang="en-US" noProof="0" err="1"/>
              <a:t>sead</a:t>
            </a:r>
            <a:r>
              <a:rPr lang="en-US" noProof="0"/>
              <a:t>. </a:t>
            </a:r>
            <a:r>
              <a:rPr lang="en-US" noProof="0" err="1"/>
              <a:t>Putant</a:t>
            </a:r>
            <a:r>
              <a:rPr lang="en-US" noProof="0"/>
              <a:t> </a:t>
            </a:r>
            <a:r>
              <a:rPr lang="en-US" noProof="0" err="1"/>
              <a:t>probatus</a:t>
            </a:r>
            <a:r>
              <a:rPr lang="en-US" noProof="0"/>
              <a:t> id vis, ad his </a:t>
            </a:r>
            <a:r>
              <a:rPr lang="en-US" noProof="0" err="1"/>
              <a:t>meis</a:t>
            </a:r>
            <a:r>
              <a:rPr lang="en-US" noProof="0"/>
              <a:t> </a:t>
            </a:r>
            <a:r>
              <a:rPr lang="en-US" noProof="0" err="1"/>
              <a:t>habemus</a:t>
            </a:r>
            <a:r>
              <a:rPr lang="en-US" noProof="0"/>
              <a:t> </a:t>
            </a:r>
            <a:r>
              <a:rPr lang="en-US" noProof="0" err="1"/>
              <a:t>repudiare</a:t>
            </a:r>
            <a:r>
              <a:rPr lang="en-US" noProof="0"/>
              <a:t>, has an </a:t>
            </a:r>
            <a:r>
              <a:rPr lang="en-US" noProof="0" err="1"/>
              <a:t>pericula</a:t>
            </a:r>
            <a:r>
              <a:rPr lang="en-US" noProof="0"/>
              <a:t> </a:t>
            </a:r>
            <a:r>
              <a:rPr lang="en-US" noProof="0" err="1"/>
              <a:t>tractatos</a:t>
            </a:r>
            <a:r>
              <a:rPr lang="en-US" noProof="0"/>
              <a:t>. </a:t>
            </a:r>
            <a:r>
              <a:rPr lang="en-US" noProof="0" err="1"/>
              <a:t>Nec</a:t>
            </a:r>
            <a:r>
              <a:rPr lang="en-US" noProof="0"/>
              <a:t> </a:t>
            </a:r>
            <a:r>
              <a:rPr lang="en-US" noProof="0" err="1"/>
              <a:t>debitis</a:t>
            </a:r>
            <a:r>
              <a:rPr lang="en-US" noProof="0"/>
              <a:t> </a:t>
            </a:r>
            <a:r>
              <a:rPr lang="en-US" noProof="0" err="1"/>
              <a:t>dissentias</a:t>
            </a:r>
            <a:r>
              <a:rPr lang="en-US" noProof="0"/>
              <a:t> ad. </a:t>
            </a:r>
            <a:r>
              <a:rPr lang="en-US" noProof="0" err="1"/>
              <a:t>Patrioque</a:t>
            </a:r>
            <a:r>
              <a:rPr lang="en-US" noProof="0"/>
              <a:t> </a:t>
            </a:r>
            <a:r>
              <a:rPr lang="en-US" noProof="0" err="1"/>
              <a:t>voluptatum</a:t>
            </a:r>
            <a:r>
              <a:rPr lang="en-US" noProof="0"/>
              <a:t> </a:t>
            </a:r>
            <a:r>
              <a:rPr lang="en-US" noProof="0" err="1"/>
              <a:t>sed</a:t>
            </a:r>
            <a:r>
              <a:rPr lang="en-US" noProof="0"/>
              <a:t> ex, id </a:t>
            </a:r>
            <a:r>
              <a:rPr lang="en-US" noProof="0" err="1"/>
              <a:t>admodum</a:t>
            </a:r>
            <a:r>
              <a:rPr lang="en-US" noProof="0"/>
              <a:t>.</a:t>
            </a:r>
          </a:p>
          <a:p>
            <a:pPr lvl="0"/>
            <a:endParaRPr lang="en-US" noProof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1000626"/>
            <a:ext cx="96239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noProof="0"/>
              <a:t> | TMT Enabler Update V4+ |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0347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  <a:noFill/>
        </p:spPr>
        <p:txBody>
          <a:bodyPr numCol="2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55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5844548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279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7759E70-5D15-4411-8DED-F9D2BDD7BE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6" y="0"/>
            <a:ext cx="10683082" cy="7559675"/>
          </a:xfrm>
          <a:prstGeom prst="rect">
            <a:avLst/>
          </a:prstGeom>
        </p:spPr>
      </p:pic>
      <p:sp>
        <p:nvSpPr>
          <p:cNvPr id="6" name="Rechteck 10">
            <a:extLst>
              <a:ext uri="{FF2B5EF4-FFF2-40B4-BE49-F238E27FC236}">
                <a16:creationId xmlns:a16="http://schemas.microsoft.com/office/drawing/2014/main" id="{B51D8BC7-BDA4-4E36-A3CE-F77554EE1A1A}"/>
              </a:ext>
            </a:extLst>
          </p:cNvPr>
          <p:cNvSpPr/>
          <p:nvPr userDrawn="1"/>
        </p:nvSpPr>
        <p:spPr>
          <a:xfrm>
            <a:off x="4365" y="3501"/>
            <a:ext cx="10666170" cy="7556174"/>
          </a:xfrm>
          <a:prstGeom prst="rect">
            <a:avLst/>
          </a:prstGeom>
          <a:gradFill flip="none" rotWithShape="1">
            <a:gsLst>
              <a:gs pos="16000">
                <a:schemeClr val="bg2"/>
              </a:gs>
              <a:gs pos="57000">
                <a:schemeClr val="bg2">
                  <a:alpha val="0"/>
                </a:schemeClr>
              </a:gs>
            </a:gsLst>
            <a:lin ang="19200000" scaled="0"/>
            <a:tileRect/>
          </a:gra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578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4297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>
            <a:extLst>
              <a:ext uri="{FF2B5EF4-FFF2-40B4-BE49-F238E27FC236}">
                <a16:creationId xmlns:a16="http://schemas.microsoft.com/office/drawing/2014/main" id="{D39DD8B5-29D5-4255-8546-08AF2D622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725234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46" name="Objekt 45" hidden="1">
                        <a:extLst>
                          <a:ext uri="{FF2B5EF4-FFF2-40B4-BE49-F238E27FC236}">
                            <a16:creationId xmlns:a16="http://schemas.microsoft.com/office/drawing/2014/main" id="{D39DD8B5-29D5-4255-8546-08AF2D622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 hidden="1">
            <a:extLst>
              <a:ext uri="{FF2B5EF4-FFF2-40B4-BE49-F238E27FC236}">
                <a16:creationId xmlns:a16="http://schemas.microsoft.com/office/drawing/2014/main" id="{D561E5CB-7648-4CCC-ADDC-A258EC9144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3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4A1B1425-4BE4-46EA-A15F-54E7A3B79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178" y="0"/>
            <a:ext cx="10699992" cy="7559675"/>
          </a:xfrm>
          <a:prstGeom prst="rect">
            <a:avLst/>
          </a:prstGeom>
        </p:spPr>
      </p:pic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546005" y="877070"/>
            <a:ext cx="4321490" cy="394792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78" noProof="0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89135" y="2154167"/>
            <a:ext cx="3420705" cy="1079940"/>
          </a:xfrm>
          <a:prstGeom prst="rect">
            <a:avLst/>
          </a:prstGeom>
        </p:spPr>
        <p:txBody>
          <a:bodyPr vert="horz"/>
          <a:lstStyle>
            <a:lvl1pPr>
              <a:defRPr sz="263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9136" y="3357826"/>
            <a:ext cx="3794294" cy="11533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052"/>
              </a:spcAft>
              <a:buNone/>
              <a:defRPr sz="1753">
                <a:solidFill>
                  <a:schemeClr val="tx1"/>
                </a:solidFill>
                <a:latin typeface="EYInterstate Regular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402" b="1">
                <a:solidFill>
                  <a:srgbClr val="404040"/>
                </a:solidFill>
              </a:defRPr>
            </a:lvl2pPr>
            <a:lvl3pPr marL="80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2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5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9084702" y="5468515"/>
            <a:ext cx="1074190" cy="1581932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78" noProof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78" noProof="0"/>
            </a:p>
          </p:txBody>
        </p:sp>
      </p:grpSp>
      <p:pic>
        <p:nvPicPr>
          <p:cNvPr id="48" name="Grafik 47">
            <a:extLst>
              <a:ext uri="{FF2B5EF4-FFF2-40B4-BE49-F238E27FC236}">
                <a16:creationId xmlns:a16="http://schemas.microsoft.com/office/drawing/2014/main" id="{CD8CFB81-0F8A-4957-9F71-2E5C7E4E7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868" t="30525" r="48266" b="26518"/>
          <a:stretch/>
        </p:blipFill>
        <p:spPr>
          <a:xfrm>
            <a:off x="4304513" y="1163343"/>
            <a:ext cx="2240574" cy="276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649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0">
            <a:extLst>
              <a:ext uri="{FF2B5EF4-FFF2-40B4-BE49-F238E27FC236}">
                <a16:creationId xmlns:a16="http://schemas.microsoft.com/office/drawing/2014/main" id="{97B9B08E-1FD8-40CD-BC4D-F95F6DE934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4"/>
          <a:stretch/>
        </p:blipFill>
        <p:spPr>
          <a:xfrm>
            <a:off x="1393" y="1"/>
            <a:ext cx="10723191" cy="7568424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312070A-9FC0-49BB-A558-0E1B08B4D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018804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18" progId="TCLayout.ActiveDocument.1">
                  <p:embed/>
                </p:oleObj>
              </mc:Choice>
              <mc:Fallback>
                <p:oleObj name="think-cell Slide" r:id="rId5" imgW="352" imgH="31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312070A-9FC0-49BB-A558-0E1B08B4D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4FADE-3642-4AAC-B8BA-A90DF9413D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104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F35D77D5-0149-4F43-83C5-2A556C863BD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591" y="1154620"/>
            <a:ext cx="801190" cy="0"/>
          </a:xfrm>
          <a:prstGeom prst="line">
            <a:avLst/>
          </a:prstGeom>
          <a:noFill/>
          <a:ln w="412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8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0F52ABD-8248-4CFD-BBB1-C4BF7477C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65161"/>
          </a:xfrm>
        </p:spPr>
        <p:txBody>
          <a:bodyPr vert="horz"/>
          <a:lstStyle>
            <a:lvl1pPr>
              <a:defRPr sz="2104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4146C4-1406-4248-9CE2-4F622C7CA9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4591" y="1254347"/>
            <a:ext cx="9622632" cy="5461865"/>
          </a:xfrm>
        </p:spPr>
        <p:txBody>
          <a:bodyPr/>
          <a:lstStyle>
            <a:lvl1pPr marL="312574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753">
                <a:solidFill>
                  <a:schemeClr val="bg1"/>
                </a:solidFill>
              </a:defRPr>
            </a:lvl1pPr>
            <a:lvl2pPr marL="625148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578">
                <a:solidFill>
                  <a:schemeClr val="bg1"/>
                </a:solidFill>
              </a:defRPr>
            </a:lvl2pPr>
            <a:lvl3pPr marL="937722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402">
                <a:solidFill>
                  <a:schemeClr val="bg1"/>
                </a:solidFill>
              </a:defRPr>
            </a:lvl3pPr>
            <a:lvl4pPr marL="1250296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227">
                <a:solidFill>
                  <a:schemeClr val="bg1"/>
                </a:solidFill>
              </a:defRPr>
            </a:lvl4pPr>
            <a:lvl5pPr marL="1562870" marR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sz="1052">
                <a:solidFill>
                  <a:schemeClr val="bg1"/>
                </a:solidFill>
              </a:defRPr>
            </a:lvl5pPr>
          </a:lstStyle>
          <a:p>
            <a:pPr marL="312574" marR="0" lvl="0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to edit Master text styles</a:t>
            </a:r>
          </a:p>
          <a:p>
            <a:pPr marL="625148" marR="0" lvl="1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7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937722" marR="0" lvl="2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1250296" marR="0" lvl="3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1562870" marR="0" lvl="4" indent="-312574" algn="l" defTabSz="80147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kumimoji="0" lang="en-GB" sz="105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ED84906-9648-4D76-BB68-F2B01DAF432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7029777-8EBB-4BD8-A3B8-8DB4299BF7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0217048-E7A0-41D5-A963-8638A2E13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F437BB-0074-4C46-BC23-B5D4F04B09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578"/>
            </a:p>
          </p:txBody>
        </p:sp>
      </p:grpSp>
    </p:spTree>
    <p:extLst>
      <p:ext uri="{BB962C8B-B14F-4D97-AF65-F5344CB8AC3E}">
        <p14:creationId xmlns:p14="http://schemas.microsoft.com/office/powerpoint/2010/main" val="1711417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9825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 numCol="3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245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3057" y="1476375"/>
            <a:ext cx="4695032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46944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513339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with lef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99088" y="1476375"/>
            <a:ext cx="4699001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997756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2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3.xml"/><Relationship Id="rId18" Type="http://schemas.openxmlformats.org/officeDocument/2006/relationships/tags" Target="../tags/tag47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50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ags" Target="../tags/tag53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10" Type="http://schemas.openxmlformats.org/officeDocument/2006/relationships/slideLayout" Target="../slideLayouts/slideLayout61.xml"/><Relationship Id="rId19" Type="http://schemas.openxmlformats.org/officeDocument/2006/relationships/tags" Target="../tags/tag48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E60B77-789A-EC7D-6B14-7583FEC73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839048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60" imgH="360" progId="TCLayout.ActiveDocument.1">
                  <p:embed/>
                </p:oleObj>
              </mc:Choice>
              <mc:Fallback>
                <p:oleObj name="think-cell Slide" r:id="rId49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E60B77-789A-EC7D-6B14-7583FEC73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53C6A3-D2B2-4B1D-8A39-1D2DC241E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3725" y="1476376"/>
            <a:ext cx="9504364" cy="55435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1486D-FF2C-425C-B43A-EFC6BEA90D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93724" y="7272341"/>
            <a:ext cx="7632502" cy="107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8D336-E89F-403B-AF0B-7DBF4A7C2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17" y="7272339"/>
            <a:ext cx="1046287" cy="107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">
            <a:extLst>
              <a:ext uri="{FF2B5EF4-FFF2-40B4-BE49-F238E27FC236}">
                <a16:creationId xmlns:a16="http://schemas.microsoft.com/office/drawing/2014/main" id="{8C29C4A1-CE0C-4FD0-B3D5-EFCC21BC8E61}"/>
              </a:ext>
            </a:extLst>
          </p:cNvPr>
          <p:cNvCxnSpPr>
            <a:cxnSpLocks/>
          </p:cNvCxnSpPr>
          <p:nvPr userDrawn="1"/>
        </p:nvCxnSpPr>
        <p:spPr>
          <a:xfrm>
            <a:off x="593725" y="7200900"/>
            <a:ext cx="9504892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157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  <p:sldLayoutId id="2147483652" r:id="rId4"/>
    <p:sldLayoutId id="2147483650" r:id="rId5"/>
    <p:sldLayoutId id="2147483653" r:id="rId6"/>
    <p:sldLayoutId id="2147483654" r:id="rId7"/>
    <p:sldLayoutId id="2147483684" r:id="rId8"/>
    <p:sldLayoutId id="2147483697" r:id="rId9"/>
    <p:sldLayoutId id="2147483685" r:id="rId10"/>
    <p:sldLayoutId id="2147483696" r:id="rId11"/>
    <p:sldLayoutId id="2147483686" r:id="rId12"/>
    <p:sldLayoutId id="2147483698" r:id="rId13"/>
    <p:sldLayoutId id="2147483687" r:id="rId14"/>
    <p:sldLayoutId id="2147483659" r:id="rId15"/>
    <p:sldLayoutId id="2147483662" r:id="rId16"/>
    <p:sldLayoutId id="2147483695" r:id="rId17"/>
    <p:sldLayoutId id="2147483651" r:id="rId18"/>
    <p:sldLayoutId id="2147483655" r:id="rId19"/>
    <p:sldLayoutId id="2147483656" r:id="rId20"/>
    <p:sldLayoutId id="2147483657" r:id="rId21"/>
    <p:sldLayoutId id="2147483658" r:id="rId22"/>
    <p:sldLayoutId id="2147483660" r:id="rId23"/>
    <p:sldLayoutId id="2147483674" r:id="rId24"/>
    <p:sldLayoutId id="2147483682" r:id="rId25"/>
    <p:sldLayoutId id="2147483683" r:id="rId26"/>
    <p:sldLayoutId id="2147483675" r:id="rId27"/>
    <p:sldLayoutId id="2147483678" r:id="rId28"/>
    <p:sldLayoutId id="2147483688" r:id="rId29"/>
    <p:sldLayoutId id="2147483679" r:id="rId30"/>
    <p:sldLayoutId id="2147483689" r:id="rId31"/>
    <p:sldLayoutId id="2147483672" r:id="rId32"/>
    <p:sldLayoutId id="2147483673" r:id="rId33"/>
    <p:sldLayoutId id="2147483670" r:id="rId34"/>
    <p:sldLayoutId id="2147483694" r:id="rId35"/>
    <p:sldLayoutId id="2147483693" r:id="rId36"/>
    <p:sldLayoutId id="2147483681" r:id="rId37"/>
    <p:sldLayoutId id="2147483671" r:id="rId38"/>
    <p:sldLayoutId id="2147483661" r:id="rId39"/>
    <p:sldLayoutId id="2147483690" r:id="rId40"/>
    <p:sldLayoutId id="2147483691" r:id="rId41"/>
    <p:sldLayoutId id="2147483692" r:id="rId42"/>
    <p:sldLayoutId id="2147483700" r:id="rId43"/>
    <p:sldLayoutId id="2147483701" r:id="rId44"/>
    <p:sldLayoutId id="2147483702" r:id="rId45"/>
    <p:sldLayoutId id="2147483703" r:id="rId46"/>
  </p:sldLayoutIdLst>
  <p:hf hdr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kern="1200">
          <a:solidFill>
            <a:schemeClr val="bg1"/>
          </a:solidFill>
          <a:latin typeface="+mn-lt"/>
          <a:ea typeface="+mn-ea"/>
          <a:cs typeface="+mn-cs"/>
        </a:defRPr>
      </a:lvl1pPr>
      <a:lvl2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+mn-cs"/>
        </a:defRPr>
      </a:lvl2pPr>
      <a:lvl3pPr marL="36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n-lt"/>
          <a:ea typeface="+mn-ea"/>
          <a:cs typeface="+mn-cs"/>
        </a:defRPr>
      </a:lvl3pPr>
      <a:lvl4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+mj-lt"/>
        <a:buAutoNum type="arabi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Font typeface="+mj-lt"/>
        <a:buAutoNum type="alphaU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400" b="0" i="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b="1" i="0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i="0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000" b="0" i="1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">
          <p15:clr>
            <a:srgbClr val="A4A3A4"/>
          </p15:clr>
        </p15:guide>
        <p15:guide id="2" pos="374">
          <p15:clr>
            <a:srgbClr val="A4A3A4"/>
          </p15:clr>
        </p15:guide>
        <p15:guide id="3" pos="6361">
          <p15:clr>
            <a:srgbClr val="A4A3A4"/>
          </p15:clr>
        </p15:guide>
        <p15:guide id="4" orient="horz" pos="317">
          <p15:clr>
            <a:srgbClr val="A4A3A4"/>
          </p15:clr>
        </p15:guide>
        <p15:guide id="5" orient="horz" pos="861">
          <p15:clr>
            <a:srgbClr val="A4A3A4"/>
          </p15:clr>
        </p15:guide>
        <p15:guide id="7" orient="horz" pos="2676">
          <p15:clr>
            <a:srgbClr val="A4A3A4"/>
          </p15:clr>
        </p15:guide>
        <p15:guide id="8" orient="horz" pos="4422">
          <p15:clr>
            <a:srgbClr val="A4A3A4"/>
          </p15:clr>
        </p15:guide>
        <p15:guide id="9" orient="horz" pos="4581">
          <p15:clr>
            <a:srgbClr val="A4A3A4"/>
          </p15:clr>
        </p15:guide>
        <p15:guide id="11" orient="horz" pos="4649">
          <p15:clr>
            <a:srgbClr val="A4A3A4"/>
          </p15:clr>
        </p15:guide>
        <p15:guide id="12" orient="horz" pos="374">
          <p15:clr>
            <a:srgbClr val="A4A3A4"/>
          </p15:clr>
        </p15:guide>
        <p15:guide id="13" orient="horz" pos="759">
          <p15:clr>
            <a:srgbClr val="A4A3A4"/>
          </p15:clr>
        </p15:guide>
        <p15:guide id="14" pos="805">
          <p15:clr>
            <a:srgbClr val="A4A3A4"/>
          </p15:clr>
        </p15:guide>
        <p15:guide id="15" pos="873">
          <p15:clr>
            <a:srgbClr val="A4A3A4"/>
          </p15:clr>
        </p15:guide>
        <p15:guide id="16" pos="1314">
          <p15:clr>
            <a:srgbClr val="A4A3A4"/>
          </p15:clr>
        </p15:guide>
        <p15:guide id="17" pos="1382">
          <p15:clr>
            <a:srgbClr val="A4A3A4"/>
          </p15:clr>
        </p15:guide>
        <p15:guide id="18" pos="1825">
          <p15:clr>
            <a:srgbClr val="A4A3A4"/>
          </p15:clr>
        </p15:guide>
        <p15:guide id="19" pos="1893">
          <p15:clr>
            <a:srgbClr val="A4A3A4"/>
          </p15:clr>
        </p15:guide>
        <p15:guide id="20" pos="2324">
          <p15:clr>
            <a:srgbClr val="A4A3A4"/>
          </p15:clr>
        </p15:guide>
        <p15:guide id="21" pos="2392">
          <p15:clr>
            <a:srgbClr val="A4A3A4"/>
          </p15:clr>
        </p15:guide>
        <p15:guide id="22" pos="2823">
          <p15:clr>
            <a:srgbClr val="A4A3A4"/>
          </p15:clr>
        </p15:guide>
        <p15:guide id="23" pos="2891">
          <p15:clr>
            <a:srgbClr val="A4A3A4"/>
          </p15:clr>
        </p15:guide>
        <p15:guide id="24" pos="3333">
          <p15:clr>
            <a:srgbClr val="A4A3A4"/>
          </p15:clr>
        </p15:guide>
        <p15:guide id="25" pos="3401">
          <p15:clr>
            <a:srgbClr val="A4A3A4"/>
          </p15:clr>
        </p15:guide>
        <p15:guide id="26" pos="3844">
          <p15:clr>
            <a:srgbClr val="A4A3A4"/>
          </p15:clr>
        </p15:guide>
        <p15:guide id="27" pos="3912">
          <p15:clr>
            <a:srgbClr val="A4A3A4"/>
          </p15:clr>
        </p15:guide>
        <p15:guide id="28" pos="4343">
          <p15:clr>
            <a:srgbClr val="A4A3A4"/>
          </p15:clr>
        </p15:guide>
        <p15:guide id="29" pos="4411">
          <p15:clr>
            <a:srgbClr val="A4A3A4"/>
          </p15:clr>
        </p15:guide>
        <p15:guide id="30" pos="4842">
          <p15:clr>
            <a:srgbClr val="A4A3A4"/>
          </p15:clr>
        </p15:guide>
        <p15:guide id="31" pos="4910">
          <p15:clr>
            <a:srgbClr val="A4A3A4"/>
          </p15:clr>
        </p15:guide>
        <p15:guide id="32" pos="5420">
          <p15:clr>
            <a:srgbClr val="A4A3A4"/>
          </p15:clr>
        </p15:guide>
        <p15:guide id="33" pos="5352">
          <p15:clr>
            <a:srgbClr val="A4A3A4"/>
          </p15:clr>
        </p15:guide>
        <p15:guide id="34" pos="5862">
          <p15:clr>
            <a:srgbClr val="A4A3A4"/>
          </p15:clr>
        </p15:guide>
        <p15:guide id="35" pos="5930">
          <p15:clr>
            <a:srgbClr val="A4A3A4"/>
          </p15:clr>
        </p15:guide>
        <p15:guide id="36" orient="horz" pos="93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32CAC6-DD35-7349-2304-39DEEAB106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8757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32CAC6-DD35-7349-2304-39DEEAB10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3"/>
          <p:cNvSpPr txBox="1">
            <a:spLocks/>
          </p:cNvSpPr>
          <p:nvPr userDrawn="1"/>
        </p:nvSpPr>
        <p:spPr>
          <a:xfrm>
            <a:off x="408457" y="5016447"/>
            <a:ext cx="9559582" cy="214276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UpSlide Table Of Content Master 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edit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dele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503FB5-2337-480C-BDAF-26D0E4BEC4A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56" y="1225434"/>
            <a:ext cx="3389277" cy="33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95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80" r:id="rId5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37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5pPr>
      <a:lvl6pPr marL="451565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6pPr>
      <a:lvl7pPr marL="903129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7pPr>
      <a:lvl8pPr marL="1354693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8pPr>
      <a:lvl9pPr marL="1806257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383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383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1846" indent="-261846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11"/>
        </a:buBlip>
        <a:defRPr lang="en-US" sz="1383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0589" indent="-17874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19334" indent="-17874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19334" marR="0" indent="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76822" marR="0" indent="-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55565" indent="-178745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23333" indent="-167769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156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312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469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6257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7821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938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6094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1251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46D5B61-59CF-4DE6-A3DF-BCF7491BFC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22698903"/>
              </p:ext>
            </p:extLst>
          </p:nvPr>
        </p:nvGraphicFramePr>
        <p:xfrm>
          <a:off x="1392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2" imgH="318" progId="TCLayout.ActiveDocument.1">
                  <p:embed/>
                </p:oleObj>
              </mc:Choice>
              <mc:Fallback>
                <p:oleObj name="think-cell Slide" r:id="rId26" imgW="352" imgH="31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46D5B61-59CF-4DE6-A3DF-BCF7491BF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BF9CEB6-BDCF-473A-AF03-3A3A892B98B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39144" cy="174992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014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104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8" name="Textplatzhalter 27"/>
          <p:cNvSpPr>
            <a:spLocks noGrp="1"/>
          </p:cNvSpPr>
          <p:nvPr>
            <p:ph type="body" idx="1"/>
          </p:nvPr>
        </p:nvSpPr>
        <p:spPr>
          <a:xfrm>
            <a:off x="533261" y="1253994"/>
            <a:ext cx="9623933" cy="47965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marL="448045" lvl="2" indent="-204543"/>
            <a:r>
              <a:rPr lang="en-US" noProof="0"/>
              <a:t>Third level</a:t>
            </a:r>
          </a:p>
          <a:p>
            <a:pPr marL="653979" lvl="3" indent="-203151"/>
            <a:r>
              <a:rPr lang="en-US" noProof="0"/>
              <a:t>Fourth level</a:t>
            </a:r>
          </a:p>
          <a:p>
            <a:pPr marL="827909" lvl="4" indent="-176714">
              <a:buClr>
                <a:srgbClr val="FFE600"/>
              </a:buClr>
            </a:pPr>
            <a:r>
              <a:rPr lang="en-US" noProof="0"/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1" y="324301"/>
            <a:ext cx="9622632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9893128" y="7006699"/>
            <a:ext cx="265765" cy="342985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 noProof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 noProof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 noProof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2450" y="7133348"/>
            <a:ext cx="1044134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lnSpc>
                <a:spcPct val="100000"/>
              </a:lnSpc>
              <a:defRPr lang="en-IN" sz="701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/>
              <a:t> | TMT Enabler Update V4+ | 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39138" y="7133348"/>
            <a:ext cx="2704956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lnSpc>
                <a:spcPct val="100000"/>
              </a:lnSpc>
              <a:defRPr lang="en-IN" sz="701" kern="1200" dirty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endParaRPr lang="en-US" noProof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992" y="7133348"/>
            <a:ext cx="581175" cy="1984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801472" rtl="0" eaLnBrk="1" latinLnBrk="0" hangingPunct="1">
              <a:lnSpc>
                <a:spcPct val="100000"/>
              </a:lnSpc>
              <a:defRPr lang="en-IN" sz="701" kern="1200" smtClean="0">
                <a:solidFill>
                  <a:schemeClr val="bg1"/>
                </a:solidFill>
                <a:latin typeface="EYInterstate Regular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3" name="Harvey 8" hidden="1">
            <a:extLst>
              <a:ext uri="{FF2B5EF4-FFF2-40B4-BE49-F238E27FC236}">
                <a16:creationId xmlns:a16="http://schemas.microsoft.com/office/drawing/2014/main" id="{D3F4D0FA-A81B-4B10-9021-8A65104D4F33}"/>
              </a:ext>
            </a:extLst>
          </p:cNvPr>
          <p:cNvGrpSpPr>
            <a:grpSpLocks/>
          </p:cNvGrpSpPr>
          <p:nvPr userDrawn="1">
            <p:custDataLst>
              <p:tags r:id="rId16"/>
            </p:custDataLst>
          </p:nvPr>
        </p:nvGrpSpPr>
        <p:grpSpPr>
          <a:xfrm>
            <a:off x="10803128" y="0"/>
            <a:ext cx="256470" cy="322546"/>
            <a:chOff x="0" y="0"/>
            <a:chExt cx="914400" cy="914400"/>
          </a:xfrm>
          <a:solidFill>
            <a:schemeClr val="tx1"/>
          </a:solidFill>
        </p:grpSpPr>
        <p:sp>
          <p:nvSpPr>
            <p:cNvPr id="15" name="Harvey 0/8 [0]" hidden="1">
              <a:extLst>
                <a:ext uri="{FF2B5EF4-FFF2-40B4-BE49-F238E27FC236}">
                  <a16:creationId xmlns:a16="http://schemas.microsoft.com/office/drawing/2014/main" id="{911B7AE0-6D9E-4951-8C02-4EBC2285390C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16" name="Harvey 1/8 [1]" hidden="1">
              <a:extLst>
                <a:ext uri="{FF2B5EF4-FFF2-40B4-BE49-F238E27FC236}">
                  <a16:creationId xmlns:a16="http://schemas.microsoft.com/office/drawing/2014/main" id="{BD484FA2-A4C6-409E-8073-01940BE23E65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17" name="Harvey 2/8 [2]" hidden="1">
              <a:extLst>
                <a:ext uri="{FF2B5EF4-FFF2-40B4-BE49-F238E27FC236}">
                  <a16:creationId xmlns:a16="http://schemas.microsoft.com/office/drawing/2014/main" id="{8504C18C-DAC9-4333-AB1C-4E0C850CF777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18" name="Harvey 3/8 [3]" hidden="1">
              <a:extLst>
                <a:ext uri="{FF2B5EF4-FFF2-40B4-BE49-F238E27FC236}">
                  <a16:creationId xmlns:a16="http://schemas.microsoft.com/office/drawing/2014/main" id="{BAEB09BB-552E-4890-B99B-9246574F66D0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22" name="Harvey 4/8 [4]" hidden="1">
              <a:extLst>
                <a:ext uri="{FF2B5EF4-FFF2-40B4-BE49-F238E27FC236}">
                  <a16:creationId xmlns:a16="http://schemas.microsoft.com/office/drawing/2014/main" id="{C08003B0-E416-44B2-8399-11F93D366890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23" name="Harvey 5/8 [5]" hidden="1">
              <a:extLst>
                <a:ext uri="{FF2B5EF4-FFF2-40B4-BE49-F238E27FC236}">
                  <a16:creationId xmlns:a16="http://schemas.microsoft.com/office/drawing/2014/main" id="{AD4A1008-3865-4155-9924-7E0548EC350C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24" name="Harvey 6/8 [6]" hidden="1">
              <a:extLst>
                <a:ext uri="{FF2B5EF4-FFF2-40B4-BE49-F238E27FC236}">
                  <a16:creationId xmlns:a16="http://schemas.microsoft.com/office/drawing/2014/main" id="{83C9211C-945F-4AC1-9413-1EC55879FA2B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25" name="Harvey 7/8 [7]" hidden="1">
              <a:extLst>
                <a:ext uri="{FF2B5EF4-FFF2-40B4-BE49-F238E27FC236}">
                  <a16:creationId xmlns:a16="http://schemas.microsoft.com/office/drawing/2014/main" id="{BE9B4F0A-AF42-4C57-A9DC-C1E75F25959A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  <p:sp>
          <p:nvSpPr>
            <p:cNvPr id="26" name="Harvey 8/8 [8]" hidden="1">
              <a:extLst>
                <a:ext uri="{FF2B5EF4-FFF2-40B4-BE49-F238E27FC236}">
                  <a16:creationId xmlns:a16="http://schemas.microsoft.com/office/drawing/2014/main" id="{B01DBED3-6466-4665-82C1-FC700CE328E9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78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2098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hdr="0" dt="0"/>
  <p:txStyles>
    <p:titleStyle>
      <a:lvl1pPr algn="l" defTabSz="801472" rtl="0" eaLnBrk="1" latinLnBrk="0" hangingPunct="1">
        <a:lnSpc>
          <a:spcPct val="100000"/>
        </a:lnSpc>
        <a:spcBef>
          <a:spcPct val="0"/>
        </a:spcBef>
        <a:buNone/>
        <a:defRPr sz="2104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marR="0" indent="0" algn="l" defTabSz="801472" rtl="0" eaLnBrk="1" fontAlgn="auto" latinLnBrk="0" hangingPunct="1">
        <a:lnSpc>
          <a:spcPct val="100000"/>
        </a:lnSpc>
        <a:spcBef>
          <a:spcPts val="0"/>
        </a:spcBef>
        <a:spcAft>
          <a:spcPts val="526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1753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37937" marR="0" indent="-237937" algn="l" defTabSz="801472" rtl="0" eaLnBrk="1" fontAlgn="auto" latinLnBrk="0" hangingPunct="1">
        <a:lnSpc>
          <a:spcPct val="100000"/>
        </a:lnSpc>
        <a:spcBef>
          <a:spcPts val="0"/>
        </a:spcBef>
        <a:spcAft>
          <a:spcPts val="526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753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493962" marR="0" indent="-250460" algn="l" defTabSz="801472" rtl="0" eaLnBrk="1" fontAlgn="auto" latinLnBrk="0" hangingPunct="1">
        <a:lnSpc>
          <a:spcPct val="100000"/>
        </a:lnSpc>
        <a:spcBef>
          <a:spcPts val="0"/>
        </a:spcBef>
        <a:spcAft>
          <a:spcPts val="526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578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701288" marR="0" indent="-250460" algn="l" defTabSz="801472" rtl="0" eaLnBrk="1" fontAlgn="auto" latinLnBrk="0" hangingPunct="1">
        <a:lnSpc>
          <a:spcPct val="100000"/>
        </a:lnSpc>
        <a:spcBef>
          <a:spcPts val="0"/>
        </a:spcBef>
        <a:spcAft>
          <a:spcPts val="526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2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827909" indent="-176714" algn="l" defTabSz="801472" rtl="0" eaLnBrk="1" latinLnBrk="0" hangingPunct="1">
        <a:lnSpc>
          <a:spcPct val="100000"/>
        </a:lnSpc>
        <a:spcBef>
          <a:spcPts val="0"/>
        </a:spcBef>
        <a:spcAft>
          <a:spcPts val="526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227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204047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6pPr>
      <a:lvl7pPr marL="2604783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7pPr>
      <a:lvl8pPr marL="3005519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8pPr>
      <a:lvl9pPr marL="3406254" indent="-200368" algn="l" defTabSz="801472" rtl="0" eaLnBrk="1" latinLnBrk="0" hangingPunct="1">
        <a:spcBef>
          <a:spcPct val="20000"/>
        </a:spcBef>
        <a:buFont typeface="Arial" pitchFamily="34" charset="0"/>
        <a:buChar char="•"/>
        <a:defRPr sz="1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5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>
          <p15:clr>
            <a:srgbClr val="F26B43"/>
          </p15:clr>
        </p15:guide>
        <p15:guide id="4" pos="730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09">
          <p15:clr>
            <a:srgbClr val="F26B43"/>
          </p15:clr>
        </p15:guide>
        <p15:guide id="7" orient="horz" pos="3838">
          <p15:clr>
            <a:srgbClr val="F26B43"/>
          </p15:clr>
        </p15:guide>
        <p15:guide id="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20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5.xml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6.xml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s.snowflake.com/odbc/" TargetMode="External"/><Relationship Id="rId13" Type="http://schemas.openxmlformats.org/officeDocument/2006/relationships/image" Target="../media/image28.svg"/><Relationship Id="rId3" Type="http://schemas.openxmlformats.org/officeDocument/2006/relationships/slideLayout" Target="../slideLayouts/slideLayout35.xml"/><Relationship Id="rId7" Type="http://schemas.openxmlformats.org/officeDocument/2006/relationships/hyperlink" Target="https://forms.office.com/pages/responsepage.aspx?id=mT-XW99360uyfaoMcLhILE1fL2kr4XhKrueodIVb5t5UNDFBQlRBVFJOSjBCN081QjVZWk9MSklOMyQlQCN0PWcu" TargetMode="External"/><Relationship Id="rId12" Type="http://schemas.openxmlformats.org/officeDocument/2006/relationships/image" Target="../media/image27.png"/><Relationship Id="rId2" Type="http://schemas.openxmlformats.org/officeDocument/2006/relationships/tags" Target="../tags/tag79.xml"/><Relationship Id="rId16" Type="http://schemas.openxmlformats.org/officeDocument/2006/relationships/image" Target="../media/image31.png"/><Relationship Id="rId1" Type="http://schemas.openxmlformats.org/officeDocument/2006/relationships/tags" Target="../tags/tag78.xml"/><Relationship Id="rId6" Type="http://schemas.openxmlformats.org/officeDocument/2006/relationships/image" Target="../media/image20.emf"/><Relationship Id="rId11" Type="http://schemas.openxmlformats.org/officeDocument/2006/relationships/hyperlink" Target="https://eyus.sharepoint.com/:u:/r/sites/TDAnalytics-TechSector/Shared%20Documents/General/V4.1%20TMT%20-%20Development/In-DB%20(Snowflake)/Power%20BI%20Dashboard%20In-DB%20(Snowflake)/TMT%20Enabler%20GDS%20Final_4.1_V_2023.11.06.pbix?csf=1&amp;web=1&amp;e=RdZcRS" TargetMode="External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30.png"/><Relationship Id="rId10" Type="http://schemas.openxmlformats.org/officeDocument/2006/relationships/hyperlink" Target="https://eyus.sharepoint.com/:u:/r/sites/TDAnalytics-TechSector/Shared%20Documents/General/V4.1%20TMT%20-%20Development/In-DB%20(Snowflake)/Alteryx%20In-DB%20(Snowflake)/Workflows/Step%202%20-%20InDB%20Tech%20Enabler%20-%20Retention%20Calcs%20-%20OG.yxmd?csf=1&amp;web=1&amp;e=mTCmbX" TargetMode="External"/><Relationship Id="rId4" Type="http://schemas.openxmlformats.org/officeDocument/2006/relationships/image" Target="../media/image26.jpeg"/><Relationship Id="rId9" Type="http://schemas.openxmlformats.org/officeDocument/2006/relationships/hyperlink" Target="https://eyus.sharepoint.com/:u:/r/sites/TDAnalytics-TechSector/Shared%20Documents/General/V4.1%20TMT%20-%20Development/In-DB%20(Snowflake)/Alteryx%20In-DB%20(Snowflake)/Workflows/Step%201%20-%20InDB%20Tech%20Enabler%20-%20Data%20Cleanse.yxmd?csf=1&amp;web=1&amp;e=gQeT6Z" TargetMode="External"/><Relationship Id="rId1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0.xml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microsoft.com/office/2018/10/relationships/comments" Target="../comments/modernComment_7FFFD724_E3B3D36F.xml"/><Relationship Id="rId9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3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5.bin"/><Relationship Id="rId4" Type="http://schemas.microsoft.com/office/2018/10/relationships/comments" Target="../comments/modernComment_7FFFD731_8AA9026B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6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0.xml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B7E4232-F70D-9326-B6E5-4D33D975C0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546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7E4232-F70D-9326-B6E5-4D33D975C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">
            <a:extLst>
              <a:ext uri="{FF2B5EF4-FFF2-40B4-BE49-F238E27FC236}">
                <a16:creationId xmlns:a16="http://schemas.microsoft.com/office/drawing/2014/main" id="{BD959D90-880E-8DF7-6831-A39527DE3667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GB" b="1">
                <a:latin typeface="EYInterstate Light" panose="02000506000000020004" pitchFamily="2" charset="0"/>
              </a:rPr>
              <a:t>TMT Enabler Update V4.2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E590926-2F21-D0CA-65FF-D893173B4015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846137" y="4344466"/>
            <a:ext cx="4830762" cy="252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GB">
                <a:latin typeface="EYInterstate Light"/>
              </a:rPr>
              <a:t>3 October 2024</a:t>
            </a:r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3155A4AC-BFAC-3177-E4E3-017A03B23BA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3" name="Logo Beam">
              <a:extLst>
                <a:ext uri="{FF2B5EF4-FFF2-40B4-BE49-F238E27FC236}">
                  <a16:creationId xmlns:a16="http://schemas.microsoft.com/office/drawing/2014/main" id="{8F8B315A-C4BE-4AA6-BBD1-C66C1B820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6800" tIns="136800" rIns="136800" bIns="13680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4" name="Logo Text">
              <a:extLst>
                <a:ext uri="{FF2B5EF4-FFF2-40B4-BE49-F238E27FC236}">
                  <a16:creationId xmlns:a16="http://schemas.microsoft.com/office/drawing/2014/main" id="{FB67C608-3A9A-276B-0839-AD3B79E284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6800" tIns="136800" rIns="136800" bIns="13680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23AA2A-92B2-640C-6AE0-B373208AE04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E3629803-B72E-9EDE-4059-1DBB7C3EB8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latin typeface="EYInterstate Light" panose="02000506000000020004" pitchFamily="2" charset="0"/>
              </a:rPr>
              <a:t>Enabler Gu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D82813-3486-5A4A-8EA5-9F13DBAD46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059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56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6241" y="584200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3.1 - New Databook Views</a:t>
            </a:r>
          </a:p>
        </p:txBody>
      </p:sp>
      <p:sp>
        <p:nvSpPr>
          <p:cNvPr id="2" name="Line 10">
            <a:extLst>
              <a:ext uri="{FF2B5EF4-FFF2-40B4-BE49-F238E27FC236}">
                <a16:creationId xmlns:a16="http://schemas.microsoft.com/office/drawing/2014/main" id="{5E36846C-FC9C-CCE3-F506-6C0671F6B5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045973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Rectangle 59">
            <a:extLst>
              <a:ext uri="{FF2B5EF4-FFF2-40B4-BE49-F238E27FC236}">
                <a16:creationId xmlns:a16="http://schemas.microsoft.com/office/drawing/2014/main" id="{9EF67983-3879-38C6-3ED9-3AC07A359BE8}"/>
              </a:ext>
            </a:extLst>
          </p:cNvPr>
          <p:cNvSpPr/>
          <p:nvPr/>
        </p:nvSpPr>
        <p:spPr>
          <a:xfrm>
            <a:off x="607105" y="1373742"/>
            <a:ext cx="38028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Enhanced KPI Matrix View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E3A142D0-9E21-0CE4-2FA5-22DEF9782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59575"/>
              </p:ext>
            </p:extLst>
          </p:nvPr>
        </p:nvGraphicFramePr>
        <p:xfrm>
          <a:off x="593724" y="2070140"/>
          <a:ext cx="3073401" cy="4115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245">
                  <a:extLst>
                    <a:ext uri="{9D8B030D-6E8A-4147-A177-3AD203B41FA5}">
                      <a16:colId xmlns:a16="http://schemas.microsoft.com/office/drawing/2014/main" val="1032022922"/>
                    </a:ext>
                  </a:extLst>
                </a:gridCol>
                <a:gridCol w="1823156">
                  <a:extLst>
                    <a:ext uri="{9D8B030D-6E8A-4147-A177-3AD203B41FA5}">
                      <a16:colId xmlns:a16="http://schemas.microsoft.com/office/drawing/2014/main" val="2943524682"/>
                    </a:ext>
                  </a:extLst>
                </a:gridCol>
              </a:tblGrid>
              <a:tr h="406731">
                <a:tc>
                  <a:txBody>
                    <a:bodyPr/>
                    <a:lstStyle/>
                    <a:p>
                      <a:r>
                        <a:rPr lang="en-US" sz="2000" u="sng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Pilla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u="sng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KP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703983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Produc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7421790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Reg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BoP</a:t>
                      </a:r>
                      <a:endParaRPr lang="en-US" sz="1600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0601113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Account Siz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New (#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290338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Industr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New (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144308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hann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Churn (#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6375632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ohor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Customer Count Churn (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047360"/>
                  </a:ext>
                </a:extLst>
              </a:tr>
              <a:tr h="406731">
                <a:tc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</a:rPr>
                        <a:t>ARPU ($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523416"/>
                  </a:ext>
                </a:extLst>
              </a:tr>
            </a:tbl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85B98436-ABF0-DDE4-99D3-0E5910DED6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92855" y="2120491"/>
            <a:ext cx="6489302" cy="4015090"/>
          </a:xfrm>
          <a:prstGeom prst="rect">
            <a:avLst/>
          </a:prstGeom>
        </p:spPr>
      </p:pic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37816C03-4388-5162-0E4C-8CB8E3559F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2320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6241" y="584200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3.1 - New Databook Views</a:t>
            </a:r>
          </a:p>
        </p:txBody>
      </p:sp>
      <p:sp>
        <p:nvSpPr>
          <p:cNvPr id="2" name="Line 10">
            <a:extLst>
              <a:ext uri="{FF2B5EF4-FFF2-40B4-BE49-F238E27FC236}">
                <a16:creationId xmlns:a16="http://schemas.microsoft.com/office/drawing/2014/main" id="{5E36846C-FC9C-CCE3-F506-6C0671F6B5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045973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Rectangle 59">
            <a:extLst>
              <a:ext uri="{FF2B5EF4-FFF2-40B4-BE49-F238E27FC236}">
                <a16:creationId xmlns:a16="http://schemas.microsoft.com/office/drawing/2014/main" id="{9EF67983-3879-38C6-3ED9-3AC07A359BE8}"/>
              </a:ext>
            </a:extLst>
          </p:cNvPr>
          <p:cNvSpPr/>
          <p:nvPr/>
        </p:nvSpPr>
        <p:spPr>
          <a:xfrm>
            <a:off x="607105" y="1373742"/>
            <a:ext cx="6146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New Top Mover Views by New, Churn, Upsell,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Downsell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0FE7AE-4A36-CDFE-4548-0BE1C27E5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706" y="3389239"/>
            <a:ext cx="10058400" cy="162232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39D79D8-749A-4E40-3527-B3BA1D53C11D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2222750" y="2822211"/>
            <a:ext cx="1072900" cy="56702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0181C4E-BA4D-B43E-5131-93E52DBF111F}"/>
              </a:ext>
            </a:extLst>
          </p:cNvPr>
          <p:cNvSpPr/>
          <p:nvPr/>
        </p:nvSpPr>
        <p:spPr>
          <a:xfrm>
            <a:off x="1673724" y="3389237"/>
            <a:ext cx="1098051" cy="27432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553BE5-3E4B-0EFB-9BBF-D52117488C63}"/>
              </a:ext>
            </a:extLst>
          </p:cNvPr>
          <p:cNvSpPr txBox="1"/>
          <p:nvPr/>
        </p:nvSpPr>
        <p:spPr>
          <a:xfrm>
            <a:off x="3347222" y="2459393"/>
            <a:ext cx="1704975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70000"/>
              <a:tabLst/>
            </a:pPr>
            <a:r>
              <a:rPr kumimoji="0" lang="en-US" sz="1400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Dropdown selection to filter by diligence period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DA4131B-3ABF-78BE-BBBF-26332D8D5E40}"/>
              </a:ext>
            </a:extLst>
          </p:cNvPr>
          <p:cNvCxnSpPr>
            <a:cxnSpLocks/>
          </p:cNvCxnSpPr>
          <p:nvPr/>
        </p:nvCxnSpPr>
        <p:spPr>
          <a:xfrm>
            <a:off x="1048939" y="5094955"/>
            <a:ext cx="647450" cy="75810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C906B2A-007B-9F70-4B7B-F7F8FB4E7344}"/>
              </a:ext>
            </a:extLst>
          </p:cNvPr>
          <p:cNvSpPr/>
          <p:nvPr/>
        </p:nvSpPr>
        <p:spPr>
          <a:xfrm>
            <a:off x="316705" y="3628605"/>
            <a:ext cx="1464469" cy="147536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44CD90-DCF8-1256-AD0A-D759E4E67F8C}"/>
              </a:ext>
            </a:extLst>
          </p:cNvPr>
          <p:cNvSpPr txBox="1"/>
          <p:nvPr/>
        </p:nvSpPr>
        <p:spPr>
          <a:xfrm>
            <a:off x="1781174" y="5650016"/>
            <a:ext cx="1704975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70000"/>
              <a:tabLst/>
            </a:pPr>
            <a:r>
              <a:rPr lang="en-US" sz="1400">
                <a:latin typeface="EYInterstate Light" panose="02000506000000020004" pitchFamily="2" charset="0"/>
              </a:rPr>
              <a:t>Consolidated ranking of Top 10 customers by ARR and % of </a:t>
            </a:r>
            <a:r>
              <a:rPr lang="en-US" sz="1400" err="1">
                <a:latin typeface="EYInterstate Light" panose="02000506000000020004" pitchFamily="2" charset="0"/>
              </a:rPr>
              <a:t>BoP</a:t>
            </a:r>
            <a:endParaRPr lang="en-US" sz="1400">
              <a:latin typeface="EYInterstate Light" panose="02000506000000020004" pitchFamily="2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EB129A-8432-2A7E-5E96-F9F98450F6F5}"/>
              </a:ext>
            </a:extLst>
          </p:cNvPr>
          <p:cNvCxnSpPr>
            <a:cxnSpLocks/>
            <a:endCxn id="30" idx="1"/>
          </p:cNvCxnSpPr>
          <p:nvPr/>
        </p:nvCxnSpPr>
        <p:spPr>
          <a:xfrm flipV="1">
            <a:off x="4736306" y="2579100"/>
            <a:ext cx="1316832" cy="104928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1E230AA-4FE9-71E8-D99E-75FB9E3F4102}"/>
              </a:ext>
            </a:extLst>
          </p:cNvPr>
          <p:cNvCxnSpPr>
            <a:cxnSpLocks/>
            <a:endCxn id="30" idx="3"/>
          </p:cNvCxnSpPr>
          <p:nvPr/>
        </p:nvCxnSpPr>
        <p:spPr>
          <a:xfrm flipH="1" flipV="1">
            <a:off x="7758113" y="2579100"/>
            <a:ext cx="1253343" cy="104078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04108F5-9C2B-9100-AF7D-4F5D1D81637A}"/>
              </a:ext>
            </a:extLst>
          </p:cNvPr>
          <p:cNvSpPr/>
          <p:nvPr/>
        </p:nvSpPr>
        <p:spPr>
          <a:xfrm>
            <a:off x="2589166" y="3628605"/>
            <a:ext cx="7785940" cy="13716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D1A158-DC47-F595-D988-E64ECA3300D5}"/>
              </a:ext>
            </a:extLst>
          </p:cNvPr>
          <p:cNvSpPr txBox="1"/>
          <p:nvPr/>
        </p:nvSpPr>
        <p:spPr>
          <a:xfrm>
            <a:off x="6053138" y="2255934"/>
            <a:ext cx="1704975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70000"/>
              <a:tabLst/>
            </a:pPr>
            <a:r>
              <a:rPr kumimoji="0" lang="en-US" sz="1400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Consolidated view of movement category $ and ARR $ figures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AAAD3D0D-45BB-98A9-D1FA-57219C6FCA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9300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6241" y="584200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3.1 - New Databook Views</a:t>
            </a:r>
          </a:p>
        </p:txBody>
      </p:sp>
      <p:sp>
        <p:nvSpPr>
          <p:cNvPr id="2" name="Line 10">
            <a:extLst>
              <a:ext uri="{FF2B5EF4-FFF2-40B4-BE49-F238E27FC236}">
                <a16:creationId xmlns:a16="http://schemas.microsoft.com/office/drawing/2014/main" id="{5E36846C-FC9C-CCE3-F506-6C0671F6B5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045973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Rectangle 59">
            <a:extLst>
              <a:ext uri="{FF2B5EF4-FFF2-40B4-BE49-F238E27FC236}">
                <a16:creationId xmlns:a16="http://schemas.microsoft.com/office/drawing/2014/main" id="{9EF67983-3879-38C6-3ED9-3AC07A359BE8}"/>
              </a:ext>
            </a:extLst>
          </p:cNvPr>
          <p:cNvSpPr/>
          <p:nvPr/>
        </p:nvSpPr>
        <p:spPr>
          <a:xfrm>
            <a:off x="607104" y="1373742"/>
            <a:ext cx="619374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Refreshed Cohort Analyse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3FAEF6-D444-3AE5-C5E8-B889242BBC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724" y="1893491"/>
            <a:ext cx="9504363" cy="30093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084BF2C-0032-A453-CAAD-BB529C930E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724" y="4902857"/>
            <a:ext cx="9504363" cy="1926912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11C90F6-3656-4603-FA88-422CF0FFF9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436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260653" y="1220792"/>
            <a:ext cx="4575312" cy="601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3825">
                <a:solidFill>
                  <a:schemeClr val="tx1">
                    <a:alpha val="30000"/>
                  </a:schemeClr>
                </a:solidFill>
                <a:latin typeface="EYInterstate Light" panose="02000506000000020004" pitchFamily="2" charset="0"/>
              </a:rPr>
              <a:t>3</a:t>
            </a:r>
            <a:endParaRPr lang="en-US" sz="43825">
              <a:solidFill>
                <a:schemeClr val="bg1">
                  <a:alpha val="30000"/>
                </a:schemeClr>
              </a:solidFill>
              <a:latin typeface="EYInterstate Light" panose="02000506000000020004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>
                <a:solidFill>
                  <a:schemeClr val="tx1"/>
                </a:solidFill>
                <a:latin typeface="EYInterstate Light" panose="02000506000000020004" pitchFamily="2" charset="0"/>
              </a:rPr>
              <a:t>04. How To Get Started With The Enabler</a:t>
            </a:r>
          </a:p>
        </p:txBody>
      </p:sp>
    </p:spTree>
    <p:extLst>
      <p:ext uri="{BB962C8B-B14F-4D97-AF65-F5344CB8AC3E}">
        <p14:creationId xmlns:p14="http://schemas.microsoft.com/office/powerpoint/2010/main" val="2367976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D547C28C-C72A-BAA8-2FCC-CD0C20DDDF05}"/>
              </a:ext>
            </a:extLst>
          </p:cNvPr>
          <p:cNvSpPr/>
          <p:nvPr/>
        </p:nvSpPr>
        <p:spPr>
          <a:xfrm>
            <a:off x="609643" y="1777307"/>
            <a:ext cx="9504364" cy="4536163"/>
          </a:xfrm>
          <a:prstGeom prst="rect">
            <a:avLst/>
          </a:prstGeom>
          <a:solidFill>
            <a:srgbClr val="2E2E38">
              <a:alpha val="77000"/>
            </a:srgbClr>
          </a:solidFill>
          <a:ln w="3175">
            <a:solidFill>
              <a:schemeClr val="tx1">
                <a:alpha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2E2E38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245E35-B8ED-F789-7441-76EC2520A9ED}"/>
              </a:ext>
            </a:extLst>
          </p:cNvPr>
          <p:cNvGrpSpPr/>
          <p:nvPr/>
        </p:nvGrpSpPr>
        <p:grpSpPr>
          <a:xfrm>
            <a:off x="625563" y="3006266"/>
            <a:ext cx="1055183" cy="768928"/>
            <a:chOff x="1233933" y="2642371"/>
            <a:chExt cx="1165566" cy="84166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BCB9E2C-33E9-01CE-D78E-277091C0F9E8}"/>
                </a:ext>
              </a:extLst>
            </p:cNvPr>
            <p:cNvSpPr/>
            <p:nvPr/>
          </p:nvSpPr>
          <p:spPr>
            <a:xfrm>
              <a:off x="1233933" y="2732690"/>
              <a:ext cx="758687" cy="751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0FDD13BA-3477-B8C1-94F5-31785FE601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58" t="18131" r="9586"/>
            <a:stretch/>
          </p:blipFill>
          <p:spPr>
            <a:xfrm>
              <a:off x="1640811" y="2642371"/>
              <a:ext cx="758688" cy="703096"/>
            </a:xfrm>
            <a:prstGeom prst="rect">
              <a:avLst/>
            </a:prstGeom>
          </p:spPr>
        </p:pic>
      </p:grp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25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712112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4.1 - Process Overview</a:t>
            </a:r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68470791-FA54-62C3-F8AA-30C72C4E31B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170142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D980997-9D8C-E94D-D67F-5225C0D42C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4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02DFDA0-AC76-1DFA-72E3-90BDBD4B5A38}"/>
              </a:ext>
            </a:extLst>
          </p:cNvPr>
          <p:cNvGrpSpPr/>
          <p:nvPr/>
        </p:nvGrpSpPr>
        <p:grpSpPr>
          <a:xfrm>
            <a:off x="609643" y="-605928"/>
            <a:ext cx="5482637" cy="456774"/>
            <a:chOff x="2222499" y="2962275"/>
            <a:chExt cx="5482637" cy="456774"/>
          </a:xfrm>
        </p:grpSpPr>
        <p:cxnSp>
          <p:nvCxnSpPr>
            <p:cNvPr id="6" name="Google Shape;3705;p51">
              <a:extLst>
                <a:ext uri="{FF2B5EF4-FFF2-40B4-BE49-F238E27FC236}">
                  <a16:creationId xmlns:a16="http://schemas.microsoft.com/office/drawing/2014/main" id="{30BD1525-FC94-BB15-3EEC-D0634B650249}"/>
                </a:ext>
              </a:extLst>
            </p:cNvPr>
            <p:cNvCxnSpPr>
              <a:cxnSpLocks/>
            </p:cNvCxnSpPr>
            <p:nvPr/>
          </p:nvCxnSpPr>
          <p:spPr>
            <a:xfrm>
              <a:off x="3897998" y="3190662"/>
              <a:ext cx="25339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sp>
          <p:nvSpPr>
            <p:cNvPr id="2" name="Google Shape;3697;p51">
              <a:extLst>
                <a:ext uri="{FF2B5EF4-FFF2-40B4-BE49-F238E27FC236}">
                  <a16:creationId xmlns:a16="http://schemas.microsoft.com/office/drawing/2014/main" id="{20BF968F-3B8E-7BCA-5231-67EFBF3BFF81}"/>
                </a:ext>
              </a:extLst>
            </p:cNvPr>
            <p:cNvSpPr/>
            <p:nvPr/>
          </p:nvSpPr>
          <p:spPr>
            <a:xfrm>
              <a:off x="3181542" y="2962275"/>
              <a:ext cx="695014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600" b="1" kern="0">
                  <a:solidFill>
                    <a:srgbClr val="2E2E38"/>
                  </a:solidFill>
                  <a:ea typeface="Arial"/>
                  <a:cs typeface="Arial"/>
                  <a:sym typeface="Arial"/>
                </a:rPr>
                <a:t>Raw Data From Client</a:t>
              </a:r>
              <a:endPara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3696;p51">
              <a:extLst>
                <a:ext uri="{FF2B5EF4-FFF2-40B4-BE49-F238E27FC236}">
                  <a16:creationId xmlns:a16="http://schemas.microsoft.com/office/drawing/2014/main" id="{AFE87CD7-3084-2C6F-2D3F-F2CC6940B0F4}"/>
                </a:ext>
              </a:extLst>
            </p:cNvPr>
            <p:cNvSpPr/>
            <p:nvPr/>
          </p:nvSpPr>
          <p:spPr>
            <a:xfrm>
              <a:off x="7031563" y="2962275"/>
              <a:ext cx="673573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Deliver Insights to Client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3697;p51">
              <a:extLst>
                <a:ext uri="{FF2B5EF4-FFF2-40B4-BE49-F238E27FC236}">
                  <a16:creationId xmlns:a16="http://schemas.microsoft.com/office/drawing/2014/main" id="{59125070-4430-411D-080C-2787FC4C9A7D}"/>
                </a:ext>
              </a:extLst>
            </p:cNvPr>
            <p:cNvSpPr/>
            <p:nvPr/>
          </p:nvSpPr>
          <p:spPr>
            <a:xfrm>
              <a:off x="4172836" y="2962275"/>
              <a:ext cx="695014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Set up Snowflake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3698;p51">
              <a:extLst>
                <a:ext uri="{FF2B5EF4-FFF2-40B4-BE49-F238E27FC236}">
                  <a16:creationId xmlns:a16="http://schemas.microsoft.com/office/drawing/2014/main" id="{96F39157-3F93-97B7-9362-C88E35F6D090}"/>
                </a:ext>
              </a:extLst>
            </p:cNvPr>
            <p:cNvSpPr/>
            <p:nvPr/>
          </p:nvSpPr>
          <p:spPr>
            <a:xfrm>
              <a:off x="2222499" y="2962275"/>
              <a:ext cx="702161" cy="45677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600" b="1" kern="0">
                  <a:solidFill>
                    <a:srgbClr val="2E2E38"/>
                  </a:solidFill>
                  <a:ea typeface="Arial"/>
                  <a:cs typeface="Arial"/>
                  <a:sym typeface="Arial"/>
                </a:rPr>
                <a:t>Process Overview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699;p51">
              <a:extLst>
                <a:ext uri="{FF2B5EF4-FFF2-40B4-BE49-F238E27FC236}">
                  <a16:creationId xmlns:a16="http://schemas.microsoft.com/office/drawing/2014/main" id="{37076649-4A78-6D2A-7AEA-A52F2625AFF0}"/>
                </a:ext>
              </a:extLst>
            </p:cNvPr>
            <p:cNvSpPr/>
            <p:nvPr/>
          </p:nvSpPr>
          <p:spPr>
            <a:xfrm>
              <a:off x="6083950" y="2962275"/>
              <a:ext cx="680720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</a:t>
              </a:r>
              <a:r>
                <a:rPr kumimoji="0" lang="en-GB" sz="600" b="1" i="0" u="none" strike="noStrike" kern="0" cap="none" spc="0" normalizeH="0" baseline="0" noProof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PowerBI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3700;p51">
              <a:extLst>
                <a:ext uri="{FF2B5EF4-FFF2-40B4-BE49-F238E27FC236}">
                  <a16:creationId xmlns:a16="http://schemas.microsoft.com/office/drawing/2014/main" id="{719CFD91-188B-31D4-857D-E7B5E2BAD195}"/>
                </a:ext>
              </a:extLst>
            </p:cNvPr>
            <p:cNvSpPr/>
            <p:nvPr/>
          </p:nvSpPr>
          <p:spPr>
            <a:xfrm>
              <a:off x="5128393" y="2962275"/>
              <a:ext cx="687866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Databook from Snowflake 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7" name="Google Shape;3705;p51">
              <a:extLst>
                <a:ext uri="{FF2B5EF4-FFF2-40B4-BE49-F238E27FC236}">
                  <a16:creationId xmlns:a16="http://schemas.microsoft.com/office/drawing/2014/main" id="{64D79B20-0E9D-C948-C675-01201AC4FE77}"/>
                </a:ext>
              </a:extLst>
            </p:cNvPr>
            <p:cNvCxnSpPr>
              <a:cxnSpLocks/>
            </p:cNvCxnSpPr>
            <p:nvPr/>
          </p:nvCxnSpPr>
          <p:spPr>
            <a:xfrm>
              <a:off x="2928146" y="3173414"/>
              <a:ext cx="25339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18" name="Google Shape;3706;p51">
              <a:extLst>
                <a:ext uri="{FF2B5EF4-FFF2-40B4-BE49-F238E27FC236}">
                  <a16:creationId xmlns:a16="http://schemas.microsoft.com/office/drawing/2014/main" id="{F5B76CE3-FA51-0A8A-D697-7ECB49590F94}"/>
                </a:ext>
              </a:extLst>
            </p:cNvPr>
            <p:cNvCxnSpPr>
              <a:cxnSpLocks/>
              <a:endCxn id="11" idx="1"/>
            </p:cNvCxnSpPr>
            <p:nvPr/>
          </p:nvCxnSpPr>
          <p:spPr>
            <a:xfrm>
              <a:off x="5816260" y="3190662"/>
              <a:ext cx="267690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19" name="Google Shape;3707;p51">
              <a:extLst>
                <a:ext uri="{FF2B5EF4-FFF2-40B4-BE49-F238E27FC236}">
                  <a16:creationId xmlns:a16="http://schemas.microsoft.com/office/drawing/2014/main" id="{2DE127DD-6C0B-0C19-96C3-884740FF6DFB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>
              <a:off x="4867850" y="3190662"/>
              <a:ext cx="260543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20" name="Google Shape;3708;p51">
              <a:extLst>
                <a:ext uri="{FF2B5EF4-FFF2-40B4-BE49-F238E27FC236}">
                  <a16:creationId xmlns:a16="http://schemas.microsoft.com/office/drawing/2014/main" id="{63C2A58E-4AF3-7EB6-B60C-E492459EAA6F}"/>
                </a:ext>
              </a:extLst>
            </p:cNvPr>
            <p:cNvCxnSpPr>
              <a:cxnSpLocks/>
              <a:endCxn id="7" idx="1"/>
            </p:cNvCxnSpPr>
            <p:nvPr/>
          </p:nvCxnSpPr>
          <p:spPr>
            <a:xfrm>
              <a:off x="6756726" y="3190662"/>
              <a:ext cx="274837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</p:grpSp>
      <p:graphicFrame>
        <p:nvGraphicFramePr>
          <p:cNvPr id="22" name="Sheet1@@B3:E22#~#0#~#0" descr="#'Exculsion rule.xlsx, Sheet1">
            <a:extLst>
              <a:ext uri="{FF2B5EF4-FFF2-40B4-BE49-F238E27FC236}">
                <a16:creationId xmlns:a16="http://schemas.microsoft.com/office/drawing/2014/main" id="{8D28A86C-5A0D-42BE-2309-1A2413D031D8}"/>
              </a:ext>
            </a:extLst>
          </p:cNvPr>
          <p:cNvGraphicFramePr>
            <a:graphicFrameLocks noGrp="1"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9493760"/>
              </p:ext>
            </p:extLst>
          </p:nvPr>
        </p:nvGraphicFramePr>
        <p:xfrm>
          <a:off x="609644" y="2145000"/>
          <a:ext cx="9504364" cy="4000392"/>
        </p:xfrm>
        <a:graphic>
          <a:graphicData uri="http://schemas.openxmlformats.org/drawingml/2006/table">
            <a:tbl>
              <a:tblPr/>
              <a:tblGrid>
                <a:gridCol w="486700">
                  <a:extLst>
                    <a:ext uri="{9D8B030D-6E8A-4147-A177-3AD203B41FA5}">
                      <a16:colId xmlns:a16="http://schemas.microsoft.com/office/drawing/2014/main" val="2102864605"/>
                    </a:ext>
                  </a:extLst>
                </a:gridCol>
                <a:gridCol w="1258802">
                  <a:extLst>
                    <a:ext uri="{9D8B030D-6E8A-4147-A177-3AD203B41FA5}">
                      <a16:colId xmlns:a16="http://schemas.microsoft.com/office/drawing/2014/main" val="2806217002"/>
                    </a:ext>
                  </a:extLst>
                </a:gridCol>
                <a:gridCol w="1741665">
                  <a:extLst>
                    <a:ext uri="{9D8B030D-6E8A-4147-A177-3AD203B41FA5}">
                      <a16:colId xmlns:a16="http://schemas.microsoft.com/office/drawing/2014/main" val="4174844653"/>
                    </a:ext>
                  </a:extLst>
                </a:gridCol>
                <a:gridCol w="3070740">
                  <a:extLst>
                    <a:ext uri="{9D8B030D-6E8A-4147-A177-3AD203B41FA5}">
                      <a16:colId xmlns:a16="http://schemas.microsoft.com/office/drawing/2014/main" val="4239099536"/>
                    </a:ext>
                  </a:extLst>
                </a:gridCol>
                <a:gridCol w="2946457">
                  <a:extLst>
                    <a:ext uri="{9D8B030D-6E8A-4147-A177-3AD203B41FA5}">
                      <a16:colId xmlns:a16="http://schemas.microsoft.com/office/drawing/2014/main" val="303190841"/>
                    </a:ext>
                  </a:extLst>
                </a:gridCol>
              </a:tblGrid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1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TMT Enabler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py latest TMT enabler template folder into current project folder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Transaction Analytics - Tech Sector - General\V4.2 Tech Enabler Template (Final)\IN-DB - AFP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5787710"/>
                  </a:ext>
                </a:extLst>
              </a:tr>
              <a:tr h="872305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2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Snowflake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equest Snowflake project setup through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FP Access Form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and install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DBC </a:t>
                      </a:r>
                      <a:r>
                        <a:rPr lang="en-IN" sz="1100">
                          <a:solidFill>
                            <a:schemeClr val="tx1"/>
                          </a:solidFill>
                          <a:latin typeface="EYInterstate Light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river</a:t>
                      </a:r>
                      <a:endParaRPr lang="en-IN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nfigure ODBC Data Sources to latest project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4744571"/>
                  </a:ext>
                </a:extLst>
              </a:tr>
              <a:tr h="872305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3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Alteryx </a:t>
                      </a:r>
                      <a:r>
                        <a:rPr lang="en-US" sz="1200" b="1" i="0" u="none" strike="noStrike" err="1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inDB</a:t>
                      </a: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EYInterstate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nfigure Alteryx </a:t>
                      </a:r>
                      <a:r>
                        <a:rPr lang="en-IN" sz="1100" b="0" i="0" u="none" baseline="0" err="1">
                          <a:solidFill>
                            <a:schemeClr val="tx1"/>
                          </a:solidFill>
                          <a:latin typeface="EYInterstate Light"/>
                        </a:rPr>
                        <a:t>inDB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 Connections</a:t>
                      </a:r>
                    </a:p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un Alteryx In-DB workflows, </a:t>
                      </a:r>
                      <a:br>
                        <a:rPr lang="en-IN" sz="1100" b="0" i="0" u="none" baseline="0">
                          <a:solidFill>
                            <a:srgbClr val="FFFFFF"/>
                          </a:solidFill>
                          <a:latin typeface="EYInterstate Light"/>
                        </a:rPr>
                      </a:b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Step 1, Step 2, and Step 3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Options -&gt; Advanced Options -&gt; Manage </a:t>
                      </a:r>
                      <a:r>
                        <a:rPr lang="en-US" sz="1100" b="0" i="0" u="none" strike="noStrike" err="1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InDB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 Connections</a:t>
                      </a:r>
                    </a:p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ep 1 Data Prep</a:t>
                      </a:r>
                      <a:endParaRPr lang="en-IN" sz="1100" b="0" i="0" u="none" strike="noStrike" kern="1200">
                        <a:solidFill>
                          <a:schemeClr val="tx1"/>
                        </a:solidFill>
                        <a:effectLst/>
                        <a:latin typeface="EYInterstate Ligh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ep 2 Retention Calc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Tx/>
                        <a:buNone/>
                      </a:pPr>
                      <a:r>
                        <a:rPr lang="en-IN" sz="1100" b="0" i="0" u="sng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</a:rPr>
                        <a:t>Step 3 Databook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908567"/>
                  </a:ext>
                </a:extLst>
              </a:tr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4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Databook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1. Data Ribbon -&gt; Get Data -&gt; From Other Sources -&gt; From ODBC -&gt; Select DSN (Data Source Name) -&gt; Load To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038347"/>
                  </a:ext>
                </a:extLst>
              </a:tr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5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 err="1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</a:rPr>
                        <a:t>PowerBI</a:t>
                      </a: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efresh the Power BI dataset and load the fresh data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MT Enabler_Retention Dashboard.pbix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8597048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DAB5BAA9-5D92-9F08-B362-F8ED53056F8C}"/>
              </a:ext>
            </a:extLst>
          </p:cNvPr>
          <p:cNvGrpSpPr/>
          <p:nvPr/>
        </p:nvGrpSpPr>
        <p:grpSpPr>
          <a:xfrm>
            <a:off x="1460765" y="1807622"/>
            <a:ext cx="1681313" cy="312151"/>
            <a:chOff x="566468" y="1883511"/>
            <a:chExt cx="1681313" cy="31215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FD4A201-C329-BBCB-9426-B99A122672AF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0017576-A356-8580-84D5-1FF77FD61224}"/>
                </a:ext>
              </a:extLst>
            </p:cNvPr>
            <p:cNvSpPr txBox="1"/>
            <p:nvPr/>
          </p:nvSpPr>
          <p:spPr>
            <a:xfrm>
              <a:off x="566468" y="1910858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 i="0" u="none" strike="noStrike" baseline="0">
                  <a:solidFill>
                    <a:schemeClr val="bg2"/>
                  </a:solidFill>
                  <a:effectLst/>
                  <a:latin typeface="EYInterstate" panose="02000503020000020004" pitchFamily="2" charset="0"/>
                </a:rPr>
                <a:t>Workflow Steps</a:t>
              </a:r>
            </a:p>
          </p:txBody>
        </p:sp>
      </p:grpSp>
      <p:pic>
        <p:nvPicPr>
          <p:cNvPr id="27" name="Graphic 26" descr="Folder outline">
            <a:extLst>
              <a:ext uri="{FF2B5EF4-FFF2-40B4-BE49-F238E27FC236}">
                <a16:creationId xmlns:a16="http://schemas.microsoft.com/office/drawing/2014/main" id="{5050AD83-ACD7-40D4-F912-7B8791804C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5417" y="2119773"/>
            <a:ext cx="705329" cy="705329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A865AA3-1460-3B1A-6EAB-0AF66C97D534}"/>
              </a:ext>
            </a:extLst>
          </p:cNvPr>
          <p:cNvGrpSpPr/>
          <p:nvPr/>
        </p:nvGrpSpPr>
        <p:grpSpPr>
          <a:xfrm>
            <a:off x="856103" y="3758989"/>
            <a:ext cx="944431" cy="977859"/>
            <a:chOff x="1223447" y="3731634"/>
            <a:chExt cx="758687" cy="751349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A4F686-08FC-C9FE-5275-142CF1643B6D}"/>
                </a:ext>
              </a:extLst>
            </p:cNvPr>
            <p:cNvSpPr/>
            <p:nvPr/>
          </p:nvSpPr>
          <p:spPr>
            <a:xfrm>
              <a:off x="1223447" y="3731634"/>
              <a:ext cx="758687" cy="751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3" name="Picture 32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B607F210-715B-606C-7847-1A9C6E581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3468" y="3956576"/>
              <a:ext cx="618978" cy="288856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B72E9EE-512C-9A0F-E4FB-C45BB3E5C5D1}"/>
              </a:ext>
            </a:extLst>
          </p:cNvPr>
          <p:cNvGrpSpPr/>
          <p:nvPr/>
        </p:nvGrpSpPr>
        <p:grpSpPr>
          <a:xfrm>
            <a:off x="985427" y="5578200"/>
            <a:ext cx="686837" cy="522170"/>
            <a:chOff x="1223447" y="4644011"/>
            <a:chExt cx="758687" cy="568651"/>
          </a:xfrm>
          <a:solidFill>
            <a:schemeClr val="tx1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39BDA0-939C-A848-8704-68487F2429C3}"/>
                </a:ext>
              </a:extLst>
            </p:cNvPr>
            <p:cNvSpPr/>
            <p:nvPr/>
          </p:nvSpPr>
          <p:spPr>
            <a:xfrm>
              <a:off x="1223447" y="4644011"/>
              <a:ext cx="758687" cy="568651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6" name="Picture 4">
              <a:extLst>
                <a:ext uri="{FF2B5EF4-FFF2-40B4-BE49-F238E27FC236}">
                  <a16:creationId xmlns:a16="http://schemas.microsoft.com/office/drawing/2014/main" id="{373315F3-B07F-4434-E56C-45CBA1159B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9918" y="4687489"/>
              <a:ext cx="486719" cy="486719"/>
            </a:xfrm>
            <a:prstGeom prst="rect">
              <a:avLst/>
            </a:prstGeom>
            <a:grpFill/>
          </p:spPr>
        </p:pic>
      </p:grpSp>
      <p:pic>
        <p:nvPicPr>
          <p:cNvPr id="1026" name="Picture 2" descr="Download Microsoft Excel Logo PNG Transparent Background 4096 x 4096, SVG,  EPS for free">
            <a:extLst>
              <a:ext uri="{FF2B5EF4-FFF2-40B4-BE49-F238E27FC236}">
                <a16:creationId xmlns:a16="http://schemas.microsoft.com/office/drawing/2014/main" id="{7ACE6B42-9A3B-7D08-DA76-7F83B1366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81" y="4781416"/>
            <a:ext cx="584373" cy="58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F07EC9AD-52F7-1676-D1B1-5634E72E2584}"/>
              </a:ext>
            </a:extLst>
          </p:cNvPr>
          <p:cNvGrpSpPr/>
          <p:nvPr/>
        </p:nvGrpSpPr>
        <p:grpSpPr>
          <a:xfrm>
            <a:off x="3864031" y="1786827"/>
            <a:ext cx="1681313" cy="312151"/>
            <a:chOff x="356318" y="1883511"/>
            <a:chExt cx="1681313" cy="31215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5C0BACD-F437-9C24-D3E5-3DCF5FC17333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F3F1A27-661E-F25A-B191-8F6A7DD6EC2A}"/>
                </a:ext>
              </a:extLst>
            </p:cNvPr>
            <p:cNvSpPr txBox="1"/>
            <p:nvPr/>
          </p:nvSpPr>
          <p:spPr>
            <a:xfrm>
              <a:off x="356318" y="1901086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>
                  <a:solidFill>
                    <a:schemeClr val="bg2"/>
                  </a:solidFill>
                  <a:latin typeface="EYInterstate" panose="02000503020000020004" pitchFamily="2" charset="0"/>
                </a:rPr>
                <a:t>Description</a:t>
              </a:r>
              <a:endParaRPr lang="en-US" sz="1200" b="1" i="0" u="none" strike="noStrike" baseline="0">
                <a:solidFill>
                  <a:schemeClr val="bg2"/>
                </a:solidFill>
                <a:effectLst/>
                <a:latin typeface="EYInterstate" panose="02000503020000020004" pitchFamily="2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C847B0-2146-F50D-F659-663DBE21DFFC}"/>
              </a:ext>
            </a:extLst>
          </p:cNvPr>
          <p:cNvGrpSpPr/>
          <p:nvPr/>
        </p:nvGrpSpPr>
        <p:grpSpPr>
          <a:xfrm>
            <a:off x="6944846" y="1786827"/>
            <a:ext cx="1910274" cy="312151"/>
            <a:chOff x="356318" y="1883511"/>
            <a:chExt cx="1681313" cy="31215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E9AE3E1-D07C-1907-836C-D09230A155E2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0FDA6D2-FCC5-9249-477A-C7D169FA774B}"/>
                </a:ext>
              </a:extLst>
            </p:cNvPr>
            <p:cNvSpPr txBox="1"/>
            <p:nvPr/>
          </p:nvSpPr>
          <p:spPr>
            <a:xfrm>
              <a:off x="356318" y="1901086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>
                  <a:solidFill>
                    <a:schemeClr val="bg2"/>
                  </a:solidFill>
                  <a:latin typeface="EYInterstate" panose="02000503020000020004" pitchFamily="2" charset="0"/>
                </a:rPr>
                <a:t>File/Folder Name</a:t>
              </a:r>
              <a:endParaRPr lang="en-US" sz="1200" b="1" i="0" u="none" strike="noStrike" baseline="0">
                <a:solidFill>
                  <a:schemeClr val="bg2"/>
                </a:solidFill>
                <a:effectLst/>
                <a:latin typeface="EYInterstate" panose="0200050302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77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260653" y="1220792"/>
            <a:ext cx="4575312" cy="601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3825">
                <a:solidFill>
                  <a:schemeClr val="tx1">
                    <a:alpha val="30000"/>
                  </a:schemeClr>
                </a:solidFill>
                <a:latin typeface="EYInterstate Light" panose="02000506000000020004" pitchFamily="2" charset="0"/>
              </a:rPr>
              <a:t>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2600" b="1">
                <a:solidFill>
                  <a:schemeClr val="tx1"/>
                </a:solidFill>
                <a:latin typeface="EYInterstate Light"/>
              </a:rPr>
              <a:t>02. Future of the TMT Enabler</a:t>
            </a:r>
          </a:p>
        </p:txBody>
      </p:sp>
    </p:spTree>
    <p:extLst>
      <p:ext uri="{BB962C8B-B14F-4D97-AF65-F5344CB8AC3E}">
        <p14:creationId xmlns:p14="http://schemas.microsoft.com/office/powerpoint/2010/main" val="28660388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42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498780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2.1 - A Future with no Alteryx? (Might sound scary but it's not)</a:t>
            </a:r>
          </a:p>
        </p:txBody>
      </p:sp>
      <p:grpSp>
        <p:nvGrpSpPr>
          <p:cNvPr id="68" name="Google Shape;3694;p51">
            <a:extLst>
              <a:ext uri="{FF2B5EF4-FFF2-40B4-BE49-F238E27FC236}">
                <a16:creationId xmlns:a16="http://schemas.microsoft.com/office/drawing/2014/main" id="{601C4A5A-A064-A779-AA30-E6FE8D068991}"/>
              </a:ext>
            </a:extLst>
          </p:cNvPr>
          <p:cNvGrpSpPr/>
          <p:nvPr/>
        </p:nvGrpSpPr>
        <p:grpSpPr>
          <a:xfrm>
            <a:off x="697706" y="1341437"/>
            <a:ext cx="9551194" cy="1852971"/>
            <a:chOff x="567075" y="2291313"/>
            <a:chExt cx="9532153" cy="1849278"/>
          </a:xfrm>
        </p:grpSpPr>
        <p:sp>
          <p:nvSpPr>
            <p:cNvPr id="69" name="Google Shape;3695;p51">
              <a:extLst>
                <a:ext uri="{FF2B5EF4-FFF2-40B4-BE49-F238E27FC236}">
                  <a16:creationId xmlns:a16="http://schemas.microsoft.com/office/drawing/2014/main" id="{E5AF659F-DB09-59C7-29AD-2F8DBA79C091}"/>
                </a:ext>
              </a:extLst>
            </p:cNvPr>
            <p:cNvSpPr txBox="1"/>
            <p:nvPr/>
          </p:nvSpPr>
          <p:spPr>
            <a:xfrm>
              <a:off x="567075" y="3420591"/>
              <a:ext cx="1800000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Capture and obtain bookings, billings, and/or other recurring revenue data.</a:t>
              </a:r>
              <a:endParaRPr lang="en-GB" sz="1200" kern="0"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Clean data</a:t>
              </a:r>
              <a:r>
                <a:rPr lang="en-GB" sz="1200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 and reconcile it to the client's trial balances or other reports. </a:t>
              </a:r>
              <a:endParaRPr kumimoji="0" lang="en-GB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696;p51">
              <a:extLst>
                <a:ext uri="{FF2B5EF4-FFF2-40B4-BE49-F238E27FC236}">
                  <a16:creationId xmlns:a16="http://schemas.microsoft.com/office/drawing/2014/main" id="{2CEED48E-1ECB-8BA6-96BD-6EFC92E901BD}"/>
                </a:ext>
              </a:extLst>
            </p:cNvPr>
            <p:cNvSpPr/>
            <p:nvPr/>
          </p:nvSpPr>
          <p:spPr>
            <a:xfrm>
              <a:off x="8299228" y="2291313"/>
              <a:ext cx="1362600" cy="924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Deliver Insights to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3697;p51">
              <a:extLst>
                <a:ext uri="{FF2B5EF4-FFF2-40B4-BE49-F238E27FC236}">
                  <a16:creationId xmlns:a16="http://schemas.microsoft.com/office/drawing/2014/main" id="{4E4154EA-ED1D-DEBB-2287-BFED473411B5}"/>
                </a:ext>
              </a:extLst>
            </p:cNvPr>
            <p:cNvSpPr/>
            <p:nvPr/>
          </p:nvSpPr>
          <p:spPr>
            <a:xfrm>
              <a:off x="2500113" y="2291313"/>
              <a:ext cx="1405974" cy="924030"/>
            </a:xfrm>
            <a:prstGeom prst="rect">
              <a:avLst/>
            </a:prstGeom>
            <a:solidFill>
              <a:srgbClr val="D2D2DA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Set up Snowflake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3698;p51">
              <a:extLst>
                <a:ext uri="{FF2B5EF4-FFF2-40B4-BE49-F238E27FC236}">
                  <a16:creationId xmlns:a16="http://schemas.microsoft.com/office/drawing/2014/main" id="{F01A6551-EAE3-0EDB-934E-732312EBE3E0}"/>
                </a:ext>
              </a:extLst>
            </p:cNvPr>
            <p:cNvSpPr/>
            <p:nvPr/>
          </p:nvSpPr>
          <p:spPr>
            <a:xfrm>
              <a:off x="567075" y="2291313"/>
              <a:ext cx="1420432" cy="9240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1200" b="1" kern="0">
                  <a:solidFill>
                    <a:srgbClr val="2E2E38"/>
                  </a:solidFill>
                  <a:ea typeface="Arial"/>
                  <a:cs typeface="Arial"/>
                  <a:sym typeface="Arial"/>
                </a:rPr>
                <a:t>Raw Data From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3699;p51">
              <a:extLst>
                <a:ext uri="{FF2B5EF4-FFF2-40B4-BE49-F238E27FC236}">
                  <a16:creationId xmlns:a16="http://schemas.microsoft.com/office/drawing/2014/main" id="{8D4AEBDB-6280-6FA3-9CDF-CD57E294E910}"/>
                </a:ext>
              </a:extLst>
            </p:cNvPr>
            <p:cNvSpPr/>
            <p:nvPr/>
          </p:nvSpPr>
          <p:spPr>
            <a:xfrm>
              <a:off x="6366189" y="2291313"/>
              <a:ext cx="1377058" cy="924030"/>
            </a:xfrm>
            <a:prstGeom prst="rect">
              <a:avLst/>
            </a:prstGeom>
            <a:solidFill>
              <a:srgbClr val="79799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</a:t>
              </a: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PowerBI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3700;p51">
              <a:extLst>
                <a:ext uri="{FF2B5EF4-FFF2-40B4-BE49-F238E27FC236}">
                  <a16:creationId xmlns:a16="http://schemas.microsoft.com/office/drawing/2014/main" id="{0CB52865-DA9E-A3C7-EA8C-8A8A5F22EDF1}"/>
                </a:ext>
              </a:extLst>
            </p:cNvPr>
            <p:cNvSpPr/>
            <p:nvPr/>
          </p:nvSpPr>
          <p:spPr>
            <a:xfrm>
              <a:off x="4433151" y="2291313"/>
              <a:ext cx="1391515" cy="924030"/>
            </a:xfrm>
            <a:prstGeom prst="rect">
              <a:avLst/>
            </a:prstGeom>
            <a:solidFill>
              <a:srgbClr val="A1A1B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Databook from Snowflake 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3701;p51">
              <a:extLst>
                <a:ext uri="{FF2B5EF4-FFF2-40B4-BE49-F238E27FC236}">
                  <a16:creationId xmlns:a16="http://schemas.microsoft.com/office/drawing/2014/main" id="{10594F93-89B2-090D-503D-195B86AC7937}"/>
                </a:ext>
              </a:extLst>
            </p:cNvPr>
            <p:cNvSpPr txBox="1"/>
            <p:nvPr/>
          </p:nvSpPr>
          <p:spPr>
            <a:xfrm>
              <a:off x="2500113" y="3420591"/>
              <a:ext cx="1800000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Setup a new Project Snowflake instance</a:t>
              </a:r>
              <a:endParaRPr lang="en-GB" sz="1200" kern="0"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EYInterstate" panose="02000503020000020004" pitchFamily="2" charset="0"/>
                  <a:ea typeface="Arial"/>
                  <a:cs typeface="Arial"/>
                  <a:sym typeface="Arial"/>
                </a:rPr>
                <a:t>Run SQL/Python Enabler</a:t>
              </a:r>
              <a:endParaRPr lang="en-GB" sz="1200" b="1" kern="0">
                <a:solidFill>
                  <a:schemeClr val="tx2"/>
                </a:solidFill>
                <a:latin typeface="EYInterstate" panose="02000503020000020004" pitchFamily="2" charset="0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Build Snowflake final output tabl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lang="en-GB" sz="1200" kern="0">
                <a:solidFill>
                  <a:srgbClr val="000000"/>
                </a:solidFill>
                <a:ea typeface="Arial"/>
                <a:cs typeface="Arial"/>
                <a:sym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3702;p51">
              <a:extLst>
                <a:ext uri="{FF2B5EF4-FFF2-40B4-BE49-F238E27FC236}">
                  <a16:creationId xmlns:a16="http://schemas.microsoft.com/office/drawing/2014/main" id="{63A70B06-E643-4193-522C-781F1A92D848}"/>
                </a:ext>
              </a:extLst>
            </p:cNvPr>
            <p:cNvSpPr txBox="1"/>
            <p:nvPr/>
          </p:nvSpPr>
          <p:spPr>
            <a:xfrm>
              <a:off x="4433151" y="3420590"/>
              <a:ext cx="1800000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Connect Snowflake to Excel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Refresh data in Excel and update Databook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Make any changes in the Databook based on specific deal needs.</a:t>
              </a:r>
            </a:p>
          </p:txBody>
        </p:sp>
        <p:sp>
          <p:nvSpPr>
            <p:cNvPr id="77" name="Google Shape;3703;p51">
              <a:extLst>
                <a:ext uri="{FF2B5EF4-FFF2-40B4-BE49-F238E27FC236}">
                  <a16:creationId xmlns:a16="http://schemas.microsoft.com/office/drawing/2014/main" id="{1F8DF88B-164C-CCDE-D8BA-35D9E20CEAC0}"/>
                </a:ext>
              </a:extLst>
            </p:cNvPr>
            <p:cNvSpPr txBox="1"/>
            <p:nvPr/>
          </p:nvSpPr>
          <p:spPr>
            <a:xfrm>
              <a:off x="6366189" y="3420590"/>
              <a:ext cx="1800000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Connect Snowflake to PBI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Refresh data in PBI and update Dashboard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Make any changes in the Dashboard based on specific deal needs.</a:t>
              </a:r>
            </a:p>
          </p:txBody>
        </p:sp>
        <p:sp>
          <p:nvSpPr>
            <p:cNvPr id="78" name="Google Shape;3704;p51">
              <a:extLst>
                <a:ext uri="{FF2B5EF4-FFF2-40B4-BE49-F238E27FC236}">
                  <a16:creationId xmlns:a16="http://schemas.microsoft.com/office/drawing/2014/main" id="{0EA4454C-71C7-9039-633F-D0ADC9E4A87B}"/>
                </a:ext>
              </a:extLst>
            </p:cNvPr>
            <p:cNvSpPr txBox="1"/>
            <p:nvPr/>
          </p:nvSpPr>
          <p:spPr>
            <a:xfrm>
              <a:off x="8299228" y="3420591"/>
              <a:ext cx="1800000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Leverage the outputs in the </a:t>
              </a:r>
              <a:r>
                <a:rPr kumimoji="0" lang="en-GB" sz="1200" b="0" i="0" u="none" strike="noStrike" kern="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databook</a:t>
              </a: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 and PBI to advice clients</a:t>
              </a:r>
            </a:p>
          </p:txBody>
        </p:sp>
        <p:cxnSp>
          <p:nvCxnSpPr>
            <p:cNvPr id="79" name="Google Shape;3705;p51">
              <a:extLst>
                <a:ext uri="{FF2B5EF4-FFF2-40B4-BE49-F238E27FC236}">
                  <a16:creationId xmlns:a16="http://schemas.microsoft.com/office/drawing/2014/main" id="{26AD603F-FD23-80A9-47EE-7D29072E6424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1987507" y="2753328"/>
              <a:ext cx="51260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0" name="Google Shape;3706;p51">
              <a:extLst>
                <a:ext uri="{FF2B5EF4-FFF2-40B4-BE49-F238E27FC236}">
                  <a16:creationId xmlns:a16="http://schemas.microsoft.com/office/drawing/2014/main" id="{0393B8D9-22DD-04E8-2690-7DD5F95D9941}"/>
                </a:ext>
              </a:extLst>
            </p:cNvPr>
            <p:cNvCxnSpPr>
              <a:cxnSpLocks/>
              <a:endCxn id="73" idx="1"/>
            </p:cNvCxnSpPr>
            <p:nvPr/>
          </p:nvCxnSpPr>
          <p:spPr>
            <a:xfrm>
              <a:off x="5824667" y="2753328"/>
              <a:ext cx="541522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1" name="Google Shape;3707;p51">
              <a:extLst>
                <a:ext uri="{FF2B5EF4-FFF2-40B4-BE49-F238E27FC236}">
                  <a16:creationId xmlns:a16="http://schemas.microsoft.com/office/drawing/2014/main" id="{5575D1E5-954A-D63A-2A8D-34C9C1AF2E1B}"/>
                </a:ext>
              </a:extLst>
            </p:cNvPr>
            <p:cNvCxnSpPr>
              <a:cxnSpLocks/>
              <a:endCxn id="74" idx="1"/>
            </p:cNvCxnSpPr>
            <p:nvPr/>
          </p:nvCxnSpPr>
          <p:spPr>
            <a:xfrm>
              <a:off x="3906087" y="2753328"/>
              <a:ext cx="527064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2" name="Google Shape;3708;p51">
              <a:extLst>
                <a:ext uri="{FF2B5EF4-FFF2-40B4-BE49-F238E27FC236}">
                  <a16:creationId xmlns:a16="http://schemas.microsoft.com/office/drawing/2014/main" id="{2A1262CC-5138-E895-22F0-EF7E38B9BBD9}"/>
                </a:ext>
              </a:extLst>
            </p:cNvPr>
            <p:cNvCxnSpPr>
              <a:cxnSpLocks/>
              <a:endCxn id="70" idx="1"/>
            </p:cNvCxnSpPr>
            <p:nvPr/>
          </p:nvCxnSpPr>
          <p:spPr>
            <a:xfrm>
              <a:off x="7743247" y="2753328"/>
              <a:ext cx="555980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5" name="Right Brace 4">
            <a:extLst>
              <a:ext uri="{FF2B5EF4-FFF2-40B4-BE49-F238E27FC236}">
                <a16:creationId xmlns:a16="http://schemas.microsoft.com/office/drawing/2014/main" id="{C17E8F14-CDA9-0F7A-407D-7F39D65091EF}"/>
              </a:ext>
            </a:extLst>
          </p:cNvPr>
          <p:cNvSpPr/>
          <p:nvPr/>
        </p:nvSpPr>
        <p:spPr>
          <a:xfrm rot="16200000">
            <a:off x="5269707" y="-182563"/>
            <a:ext cx="381000" cy="9372599"/>
          </a:xfrm>
          <a:prstGeom prst="rightBrace">
            <a:avLst>
              <a:gd name="adj1" fmla="val 78333"/>
              <a:gd name="adj2" fmla="val 28414"/>
            </a:avLst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oogle Shape;3695;p51">
            <a:extLst>
              <a:ext uri="{FF2B5EF4-FFF2-40B4-BE49-F238E27FC236}">
                <a16:creationId xmlns:a16="http://schemas.microsoft.com/office/drawing/2014/main" id="{66566D32-8229-D560-8E42-9A088C53901D}"/>
              </a:ext>
            </a:extLst>
          </p:cNvPr>
          <p:cNvSpPr txBox="1"/>
          <p:nvPr/>
        </p:nvSpPr>
        <p:spPr>
          <a:xfrm>
            <a:off x="812007" y="4729141"/>
            <a:ext cx="9286080" cy="25082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78175" bIns="0" anchor="t" anchorCtr="0">
            <a:noAutofit/>
          </a:bodyPr>
          <a:lstStyle/>
          <a:p>
            <a:pPr marR="0" lvl="0" defTabSz="914400" eaLnBrk="1" fontAlgn="auto" latinLnBrk="0" hangingPunct="1"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200"/>
              <a:tabLst/>
              <a:defRPr/>
            </a:pPr>
            <a:r>
              <a:rPr lang="en-GB" sz="1200" b="1" kern="0">
                <a:ea typeface="Arial"/>
                <a:cs typeface="Arial"/>
                <a:sym typeface="Arial"/>
              </a:rPr>
              <a:t>Why move away from Alteryx completely?</a:t>
            </a:r>
          </a:p>
          <a:p>
            <a:pPr marL="171450" marR="0" lvl="0" indent="-171450" defTabSz="914400" eaLnBrk="1" fontAlgn="auto" latinLnBrk="0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>
                <a:ea typeface="Arial"/>
                <a:cs typeface="Arial"/>
                <a:sym typeface="Arial"/>
              </a:rPr>
              <a:t>Using </a:t>
            </a:r>
            <a:r>
              <a:rPr lang="en-GB" sz="1200" b="1" i="1" kern="0">
                <a:solidFill>
                  <a:schemeClr val="tx2"/>
                </a:solidFill>
                <a:ea typeface="Arial"/>
                <a:cs typeface="Arial"/>
                <a:sym typeface="Arial"/>
              </a:rPr>
              <a:t>Snowflake natively is even faster </a:t>
            </a:r>
            <a:r>
              <a:rPr lang="en-GB" sz="1200" kern="0">
                <a:ea typeface="Arial"/>
                <a:cs typeface="Arial"/>
                <a:sym typeface="Arial"/>
              </a:rPr>
              <a:t>than using it in Alteryx.</a:t>
            </a:r>
          </a:p>
          <a:p>
            <a:pPr marL="628650" lvl="1" indent="-171450">
              <a:spcAft>
                <a:spcPts val="1200"/>
              </a:spcAft>
              <a:buClr>
                <a:schemeClr val="tx1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kern="0">
                <a:ea typeface="Arial"/>
                <a:cs typeface="Arial"/>
                <a:sym typeface="Arial"/>
              </a:rPr>
              <a:t>Project Amsterdam with 1M+ customers took 3+ hours to run in Alteryx In-DB; however, with Python/SQL it took only 30 min. to run instead. </a:t>
            </a:r>
          </a:p>
          <a:p>
            <a:pPr marL="171450" indent="-171450">
              <a:spcAft>
                <a:spcPts val="1200"/>
              </a:spcAft>
              <a:buClr>
                <a:schemeClr val="tx1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kern="0">
                <a:solidFill>
                  <a:schemeClr val="tx1">
                    <a:lumMod val="95000"/>
                  </a:schemeClr>
                </a:solidFill>
                <a:ea typeface="Arial"/>
                <a:cs typeface="Arial"/>
                <a:sym typeface="Arial"/>
              </a:rPr>
              <a:t>With more and more clients leveraging Snowflake and other SQL type tools, we can proficiently assist in </a:t>
            </a:r>
            <a:r>
              <a:rPr lang="en-GB" sz="1200" b="1" i="1" kern="0">
                <a:solidFill>
                  <a:schemeClr val="tx2"/>
                </a:solidFill>
                <a:cs typeface="Arial"/>
                <a:sym typeface="Arial"/>
              </a:rPr>
              <a:t>building their own ARR retention analyses in-house.</a:t>
            </a:r>
            <a:r>
              <a:rPr lang="en-GB" sz="1200" b="1" i="1" kern="0">
                <a:solidFill>
                  <a:schemeClr val="tx1">
                    <a:lumMod val="95000"/>
                  </a:schemeClr>
                </a:solidFill>
                <a:cs typeface="Arial"/>
                <a:sym typeface="Arial"/>
              </a:rPr>
              <a:t> </a:t>
            </a:r>
            <a:r>
              <a:rPr lang="en-GB" sz="1200" kern="0">
                <a:solidFill>
                  <a:schemeClr val="tx1">
                    <a:lumMod val="95000"/>
                  </a:schemeClr>
                </a:solidFill>
                <a:cs typeface="Arial"/>
                <a:sym typeface="Arial"/>
              </a:rPr>
              <a:t>This means more outside diligence work and greater value-creation opportunities</a:t>
            </a:r>
            <a:endParaRPr lang="en-GB" sz="1200" kern="0">
              <a:solidFill>
                <a:schemeClr val="tx1">
                  <a:lumMod val="95000"/>
                </a:schemeClr>
              </a:solidFill>
              <a:ea typeface="Arial"/>
              <a:cs typeface="Arial"/>
              <a:sym typeface="Arial"/>
            </a:endParaRPr>
          </a:p>
          <a:p>
            <a:pPr marL="171450" indent="-171450">
              <a:spcAft>
                <a:spcPts val="1200"/>
              </a:spcAft>
              <a:buClr>
                <a:schemeClr val="tx1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kern="0">
                <a:ea typeface="Arial"/>
                <a:cs typeface="Arial"/>
                <a:sym typeface="Arial"/>
              </a:rPr>
              <a:t>Snowflake with Python/SQL is utilized more heavily in industry compared to Alteryx. This will help us </a:t>
            </a:r>
            <a:r>
              <a:rPr lang="en-GB" sz="1200" b="1" i="1" kern="0">
                <a:solidFill>
                  <a:schemeClr val="tx2"/>
                </a:solidFill>
                <a:cs typeface="Arial"/>
                <a:sym typeface="Arial"/>
              </a:rPr>
              <a:t>attract better talent </a:t>
            </a:r>
            <a:r>
              <a:rPr lang="en-GB" sz="1200" kern="0">
                <a:ea typeface="Arial"/>
                <a:cs typeface="Arial"/>
                <a:sym typeface="Arial"/>
              </a:rPr>
              <a:t>and provide accelerated professional development in their careers.</a:t>
            </a:r>
          </a:p>
          <a:p>
            <a:pPr marL="171450" indent="-171450">
              <a:spcAft>
                <a:spcPts val="1200"/>
              </a:spcAft>
              <a:buClr>
                <a:schemeClr val="tx1"/>
              </a:buClr>
              <a:buSzPts val="1200"/>
              <a:buFont typeface="Arial" panose="020B0604020202020204" pitchFamily="34" charset="0"/>
              <a:buChar char="•"/>
            </a:pPr>
            <a:r>
              <a:rPr lang="en-GB" sz="1200" kern="0">
                <a:ea typeface="Arial"/>
                <a:cs typeface="Arial"/>
                <a:sym typeface="Arial"/>
              </a:rPr>
              <a:t>Greater flexibility in transforming data with the opportunity to </a:t>
            </a:r>
            <a:r>
              <a:rPr lang="en-GB" sz="1200" b="1" i="1" kern="0">
                <a:solidFill>
                  <a:schemeClr val="tx2"/>
                </a:solidFill>
                <a:cs typeface="Arial"/>
                <a:sym typeface="Arial"/>
              </a:rPr>
              <a:t>productize our retention workflows </a:t>
            </a:r>
            <a:r>
              <a:rPr lang="en-GB" sz="1200" kern="0">
                <a:cs typeface="Arial"/>
                <a:sym typeface="Arial"/>
              </a:rPr>
              <a:t>for even more functionality.</a:t>
            </a:r>
          </a:p>
          <a:p>
            <a:pPr marR="0" lvl="0" defTabSz="914400" eaLnBrk="1" fontAlgn="auto" latinLnBrk="0" hangingPunct="1"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200"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72C26F-D974-F04D-328D-16BFB47D33EC}"/>
              </a:ext>
            </a:extLst>
          </p:cNvPr>
          <p:cNvSpPr/>
          <p:nvPr/>
        </p:nvSpPr>
        <p:spPr>
          <a:xfrm>
            <a:off x="10681522" y="204742"/>
            <a:ext cx="2895600" cy="11992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Missing anything?</a:t>
            </a: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69F5BC7E-1312-E50F-30FA-35FAFECA2C5C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929015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581068B-B081-78CF-2A79-8336EFB11D9F}"/>
              </a:ext>
            </a:extLst>
          </p:cNvPr>
          <p:cNvSpPr/>
          <p:nvPr/>
        </p:nvSpPr>
        <p:spPr>
          <a:xfrm>
            <a:off x="2557480" y="2945235"/>
            <a:ext cx="1625929" cy="45483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noFill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178F78-264B-DB15-C3D9-B882E420BE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4838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589167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2.2 - What Does the Python Code Look Like?</a:t>
            </a: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9C61E4E5-0E58-8781-A766-ECAE703DB441}"/>
              </a:ext>
            </a:extLst>
          </p:cNvPr>
          <p:cNvGrpSpPr/>
          <p:nvPr/>
        </p:nvGrpSpPr>
        <p:grpSpPr>
          <a:xfrm>
            <a:off x="439202" y="2203718"/>
            <a:ext cx="5783004" cy="3276600"/>
            <a:chOff x="164170" y="2424376"/>
            <a:chExt cx="5783004" cy="3276600"/>
          </a:xfrm>
        </p:grpSpPr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id="{FC3D4DFB-F895-B1A2-8AC0-77B7EFEEEAE0}"/>
                </a:ext>
              </a:extLst>
            </p:cNvPr>
            <p:cNvSpPr/>
            <p:nvPr/>
          </p:nvSpPr>
          <p:spPr>
            <a:xfrm>
              <a:off x="807565" y="2529754"/>
              <a:ext cx="4546192" cy="2873507"/>
            </a:xfrm>
            <a:prstGeom prst="rect">
              <a:avLst/>
            </a:prstGeom>
            <a:solidFill>
              <a:srgbClr val="2B2D30"/>
            </a:solidFill>
            <a:ln w="952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err="1">
                <a:solidFill>
                  <a:schemeClr val="tx1"/>
                </a:solidFill>
              </a:endParaRPr>
            </a:p>
          </p:txBody>
        </p:sp>
        <p:pic>
          <p:nvPicPr>
            <p:cNvPr id="16" name="Picture 20">
              <a:extLst>
                <a:ext uri="{FF2B5EF4-FFF2-40B4-BE49-F238E27FC236}">
                  <a16:creationId xmlns:a16="http://schemas.microsoft.com/office/drawing/2014/main" id="{76232201-CAB1-538B-178C-1629B82EC6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64170" y="2424376"/>
              <a:ext cx="5783004" cy="3276600"/>
            </a:xfrm>
            <a:custGeom>
              <a:avLst/>
              <a:gdLst>
                <a:gd name="connsiteX0" fmla="*/ 505709 w 4494520"/>
                <a:gd name="connsiteY0" fmla="*/ 123845 h 2546556"/>
                <a:gd name="connsiteX1" fmla="*/ 505709 w 4494520"/>
                <a:gd name="connsiteY1" fmla="*/ 2300771 h 2546556"/>
                <a:gd name="connsiteX2" fmla="*/ 3991723 w 4494520"/>
                <a:gd name="connsiteY2" fmla="*/ 2300771 h 2546556"/>
                <a:gd name="connsiteX3" fmla="*/ 3991723 w 4494520"/>
                <a:gd name="connsiteY3" fmla="*/ 123845 h 2546556"/>
                <a:gd name="connsiteX4" fmla="*/ 534914 w 4494520"/>
                <a:gd name="connsiteY4" fmla="*/ 0 h 2546556"/>
                <a:gd name="connsiteX5" fmla="*/ 3958365 w 4494520"/>
                <a:gd name="connsiteY5" fmla="*/ 0 h 2546556"/>
                <a:gd name="connsiteX6" fmla="*/ 4065513 w 4494520"/>
                <a:gd name="connsiteY6" fmla="*/ 106833 h 2546556"/>
                <a:gd name="connsiteX7" fmla="*/ 4065513 w 4494520"/>
                <a:gd name="connsiteY7" fmla="*/ 2416442 h 2546556"/>
                <a:gd name="connsiteX8" fmla="*/ 4066921 w 4494520"/>
                <a:gd name="connsiteY8" fmla="*/ 2416442 h 2546556"/>
                <a:gd name="connsiteX9" fmla="*/ 4359384 w 4494520"/>
                <a:gd name="connsiteY9" fmla="*/ 2416442 h 2546556"/>
                <a:gd name="connsiteX10" fmla="*/ 4359384 w 4494520"/>
                <a:gd name="connsiteY10" fmla="*/ 2416525 h 2546556"/>
                <a:gd name="connsiteX11" fmla="*/ 4494520 w 4494520"/>
                <a:gd name="connsiteY11" fmla="*/ 2416525 h 2546556"/>
                <a:gd name="connsiteX12" fmla="*/ 4494520 w 4494520"/>
                <a:gd name="connsiteY12" fmla="*/ 2487526 h 2546556"/>
                <a:gd name="connsiteX13" fmla="*/ 4106252 w 4494520"/>
                <a:gd name="connsiteY13" fmla="*/ 2546556 h 2546556"/>
                <a:gd name="connsiteX14" fmla="*/ 3970950 w 4494520"/>
                <a:gd name="connsiteY14" fmla="*/ 2546556 h 2546556"/>
                <a:gd name="connsiteX15" fmla="*/ 3853286 w 4494520"/>
                <a:gd name="connsiteY15" fmla="*/ 2546556 h 2546556"/>
                <a:gd name="connsiteX16" fmla="*/ 641234 w 4494520"/>
                <a:gd name="connsiteY16" fmla="*/ 2546556 h 2546556"/>
                <a:gd name="connsiteX17" fmla="*/ 612336 w 4494520"/>
                <a:gd name="connsiteY17" fmla="*/ 2546556 h 2546556"/>
                <a:gd name="connsiteX18" fmla="*/ 388268 w 4494520"/>
                <a:gd name="connsiteY18" fmla="*/ 2546556 h 2546556"/>
                <a:gd name="connsiteX19" fmla="*/ 0 w 4494520"/>
                <a:gd name="connsiteY19" fmla="*/ 2487526 h 2546556"/>
                <a:gd name="connsiteX20" fmla="*/ 0 w 4494520"/>
                <a:gd name="connsiteY20" fmla="*/ 2416525 h 2546556"/>
                <a:gd name="connsiteX21" fmla="*/ 427766 w 4494520"/>
                <a:gd name="connsiteY21" fmla="*/ 2416525 h 2546556"/>
                <a:gd name="connsiteX22" fmla="*/ 427766 w 4494520"/>
                <a:gd name="connsiteY22" fmla="*/ 106833 h 2546556"/>
                <a:gd name="connsiteX23" fmla="*/ 534914 w 4494520"/>
                <a:gd name="connsiteY23" fmla="*/ 0 h 254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494520" h="2546556">
                  <a:moveTo>
                    <a:pt x="505709" y="123845"/>
                  </a:moveTo>
                  <a:lnTo>
                    <a:pt x="505709" y="2300771"/>
                  </a:lnTo>
                  <a:lnTo>
                    <a:pt x="3991723" y="2300771"/>
                  </a:lnTo>
                  <a:lnTo>
                    <a:pt x="3991723" y="123845"/>
                  </a:lnTo>
                  <a:close/>
                  <a:moveTo>
                    <a:pt x="534914" y="0"/>
                  </a:moveTo>
                  <a:lnTo>
                    <a:pt x="3958365" y="0"/>
                  </a:lnTo>
                  <a:cubicBezTo>
                    <a:pt x="4017569" y="0"/>
                    <a:pt x="4065513" y="47885"/>
                    <a:pt x="4065513" y="106833"/>
                  </a:cubicBezTo>
                  <a:lnTo>
                    <a:pt x="4065513" y="2416442"/>
                  </a:lnTo>
                  <a:lnTo>
                    <a:pt x="4066921" y="2416442"/>
                  </a:lnTo>
                  <a:lnTo>
                    <a:pt x="4359384" y="2416442"/>
                  </a:lnTo>
                  <a:lnTo>
                    <a:pt x="4359384" y="2416525"/>
                  </a:lnTo>
                  <a:lnTo>
                    <a:pt x="4494520" y="2416525"/>
                  </a:lnTo>
                  <a:lnTo>
                    <a:pt x="4494520" y="2487526"/>
                  </a:lnTo>
                  <a:cubicBezTo>
                    <a:pt x="4494520" y="2487526"/>
                    <a:pt x="4428277" y="2546556"/>
                    <a:pt x="4106252" y="2546556"/>
                  </a:cubicBezTo>
                  <a:lnTo>
                    <a:pt x="3970950" y="2546556"/>
                  </a:lnTo>
                  <a:lnTo>
                    <a:pt x="3853286" y="2546556"/>
                  </a:lnTo>
                  <a:lnTo>
                    <a:pt x="641234" y="2546556"/>
                  </a:lnTo>
                  <a:lnTo>
                    <a:pt x="612336" y="2546556"/>
                  </a:lnTo>
                  <a:lnTo>
                    <a:pt x="388268" y="2546556"/>
                  </a:lnTo>
                  <a:cubicBezTo>
                    <a:pt x="66243" y="2546556"/>
                    <a:pt x="0" y="2487526"/>
                    <a:pt x="0" y="2487526"/>
                  </a:cubicBezTo>
                  <a:lnTo>
                    <a:pt x="0" y="2416525"/>
                  </a:lnTo>
                  <a:lnTo>
                    <a:pt x="427766" y="2416525"/>
                  </a:lnTo>
                  <a:lnTo>
                    <a:pt x="427766" y="106833"/>
                  </a:lnTo>
                  <a:cubicBezTo>
                    <a:pt x="427766" y="47803"/>
                    <a:pt x="475792" y="0"/>
                    <a:pt x="534914" y="0"/>
                  </a:cubicBezTo>
                  <a:close/>
                </a:path>
              </a:pathLst>
            </a:cu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B4DD329-6010-9386-0D6C-F39CB29DAE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3091" r="17833"/>
            <a:stretch/>
          </p:blipFill>
          <p:spPr>
            <a:xfrm>
              <a:off x="845226" y="2622618"/>
              <a:ext cx="4332562" cy="2711618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2" name="Right Brace 21">
            <a:extLst>
              <a:ext uri="{FF2B5EF4-FFF2-40B4-BE49-F238E27FC236}">
                <a16:creationId xmlns:a16="http://schemas.microsoft.com/office/drawing/2014/main" id="{569940CC-56B5-6173-39C8-E9CFA59C468F}"/>
              </a:ext>
            </a:extLst>
          </p:cNvPr>
          <p:cNvSpPr/>
          <p:nvPr/>
        </p:nvSpPr>
        <p:spPr>
          <a:xfrm>
            <a:off x="6031706" y="2082407"/>
            <a:ext cx="381000" cy="3397911"/>
          </a:xfrm>
          <a:prstGeom prst="rightBrace">
            <a:avLst>
              <a:gd name="adj1" fmla="val 78333"/>
              <a:gd name="adj2" fmla="val 50000"/>
            </a:avLst>
          </a:pr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TextBox 84">
            <a:extLst>
              <a:ext uri="{FF2B5EF4-FFF2-40B4-BE49-F238E27FC236}">
                <a16:creationId xmlns:a16="http://schemas.microsoft.com/office/drawing/2014/main" id="{B8E4FA4D-0AC8-D0F2-9685-4980E1FA957A}"/>
              </a:ext>
            </a:extLst>
          </p:cNvPr>
          <p:cNvSpPr txBox="1"/>
          <p:nvPr/>
        </p:nvSpPr>
        <p:spPr>
          <a:xfrm>
            <a:off x="6565106" y="2338968"/>
            <a:ext cx="2979273" cy="401403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SzPts val="12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latin typeface="EYInterstate Light" panose="02000506000000020004" pitchFamily="2" charset="0"/>
                <a:cs typeface="Arial"/>
              </a:rPr>
              <a:t>Retention Functions built out to allow for easy use</a:t>
            </a:r>
          </a:p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SzPts val="12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latin typeface="EYInterstate Light" panose="02000506000000020004" pitchFamily="2" charset="0"/>
                <a:cs typeface="Arial"/>
              </a:rPr>
              <a:t>Better collaboration with notebooks in snowflake</a:t>
            </a:r>
          </a:p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SzPts val="12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latin typeface="EYInterstate Light" panose="02000506000000020004" pitchFamily="2" charset="0"/>
                <a:cs typeface="Arial"/>
              </a:rPr>
              <a:t>Easier retention bridge customization</a:t>
            </a:r>
          </a:p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SzPts val="12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latin typeface="EYInterstate Light" panose="02000506000000020004" pitchFamily="2" charset="0"/>
                <a:cs typeface="Arial"/>
              </a:rPr>
              <a:t>Allow for more advanced analyses using snowflake libraries and other 3</a:t>
            </a:r>
            <a:r>
              <a:rPr lang="en-US" sz="1200" kern="0" baseline="30000">
                <a:latin typeface="EYInterstate Light" panose="02000506000000020004" pitchFamily="2" charset="0"/>
                <a:cs typeface="Arial"/>
              </a:rPr>
              <a:t>rd</a:t>
            </a:r>
            <a:r>
              <a:rPr lang="en-US" sz="1200" kern="0">
                <a:latin typeface="EYInterstate Light" panose="02000506000000020004" pitchFamily="2" charset="0"/>
                <a:cs typeface="Arial"/>
              </a:rPr>
              <a:t> party libraries.</a:t>
            </a:r>
          </a:p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SzPts val="12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latin typeface="EYInterstate Light" panose="02000506000000020004" pitchFamily="2" charset="0"/>
                <a:cs typeface="Arial"/>
              </a:rPr>
              <a:t>Using a true Analytics Tech Stack and infrastructure akin to what is used in the industry</a:t>
            </a:r>
          </a:p>
          <a:p>
            <a:pPr marL="228600" indent="-228600" defTabSz="914400">
              <a:lnSpc>
                <a:spcPct val="110000"/>
              </a:lnSpc>
              <a:spcAft>
                <a:spcPts val="12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defRPr/>
            </a:pPr>
            <a:endParaRPr lang="en-US" sz="1200" ker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" name="Line 10">
            <a:extLst>
              <a:ext uri="{FF2B5EF4-FFF2-40B4-BE49-F238E27FC236}">
                <a16:creationId xmlns:a16="http://schemas.microsoft.com/office/drawing/2014/main" id="{E33E0EEA-2E9F-5E7D-0E9B-8125B8AF233E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045973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F99324-E1ED-C5C3-1C5B-E7B1B18D32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7159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260653" y="1220792"/>
            <a:ext cx="4575312" cy="601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3825">
                <a:solidFill>
                  <a:schemeClr val="tx1">
                    <a:alpha val="30000"/>
                  </a:schemeClr>
                </a:solidFill>
                <a:latin typeface="EYInterstate Light" panose="02000506000000020004" pitchFamily="2" charset="0"/>
              </a:rPr>
              <a:t>5</a:t>
            </a:r>
            <a:endParaRPr lang="en-US" sz="43825">
              <a:solidFill>
                <a:schemeClr val="bg1">
                  <a:alpha val="30000"/>
                </a:schemeClr>
              </a:solidFill>
              <a:latin typeface="EYInterstate Light" panose="02000506000000020004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  <a:latin typeface="EYInterstate Light" panose="02000506000000020004" pitchFamily="2" charset="0"/>
              </a:rPr>
              <a:t>05. The Product Team – The Dream Team</a:t>
            </a:r>
          </a:p>
        </p:txBody>
      </p:sp>
    </p:spTree>
    <p:extLst>
      <p:ext uri="{BB962C8B-B14F-4D97-AF65-F5344CB8AC3E}">
        <p14:creationId xmlns:p14="http://schemas.microsoft.com/office/powerpoint/2010/main" val="10130626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F635AC-5A30-0C88-800E-52437A3069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4235718"/>
              </p:ext>
            </p:extLst>
          </p:nvPr>
        </p:nvGraphicFramePr>
        <p:xfrm>
          <a:off x="1392" y="775722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F635AC-5A30-0C88-800E-52437A306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5722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C67654-DD44-4995-99BC-2DC4C730BC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2354" y="744312"/>
            <a:ext cx="9621838" cy="517525"/>
          </a:xfrm>
        </p:spPr>
        <p:txBody>
          <a:bodyPr vert="horz"/>
          <a:lstStyle/>
          <a:p>
            <a:r>
              <a:rPr lang="en-US" b="1">
                <a:solidFill>
                  <a:schemeClr val="tx1"/>
                </a:solidFill>
                <a:latin typeface="EYInterstate Light" panose="02000506000000020004" pitchFamily="2" charset="0"/>
                <a:sym typeface="EYInterstate Light" panose="02000506000000020004" pitchFamily="2" charset="0"/>
              </a:rPr>
              <a:t>5.1 – Meet The Team</a:t>
            </a:r>
            <a:endParaRPr lang="en-US" sz="1578" b="1" i="1">
              <a:solidFill>
                <a:schemeClr val="tx1"/>
              </a:solidFill>
              <a:latin typeface="EYInterstate Light" panose="02000506000000020004" pitchFamily="2" charset="0"/>
              <a:sym typeface="EYInterstate Light" panose="02000506000000020004" pitchFamily="2" charset="0"/>
            </a:endParaRPr>
          </a:p>
        </p:txBody>
      </p:sp>
      <p:pic>
        <p:nvPicPr>
          <p:cNvPr id="13" name="Picture 12" descr="A close-up of a person smiling&#10;&#10;Description automatically generated">
            <a:extLst>
              <a:ext uri="{FF2B5EF4-FFF2-40B4-BE49-F238E27FC236}">
                <a16:creationId xmlns:a16="http://schemas.microsoft.com/office/drawing/2014/main" id="{0F99D57D-DE88-7E14-7E14-A4E29C3C2F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962" y="2282037"/>
            <a:ext cx="1041908" cy="1041908"/>
          </a:xfrm>
          <a:prstGeom prst="ellipse">
            <a:avLst/>
          </a:prstGeom>
          <a:ln>
            <a:solidFill>
              <a:srgbClr val="FFD200"/>
            </a:solidFill>
          </a:ln>
          <a:effec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507D5E0-E7D1-A4FA-AD5F-675944ADDE15}"/>
              </a:ext>
            </a:extLst>
          </p:cNvPr>
          <p:cNvSpPr/>
          <p:nvPr/>
        </p:nvSpPr>
        <p:spPr>
          <a:xfrm>
            <a:off x="10750883" y="399694"/>
            <a:ext cx="2895600" cy="11992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Add Peter And Manuel as the product team.</a:t>
            </a:r>
            <a:br>
              <a:rPr lang="en-US" sz="1000">
                <a:solidFill>
                  <a:schemeClr val="bg1"/>
                </a:solidFill>
              </a:rPr>
            </a:b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Need to adjust photo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4AB75D-FDE8-6890-38EE-7EAD6891190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92" b="9992"/>
          <a:stretch/>
        </p:blipFill>
        <p:spPr>
          <a:xfrm>
            <a:off x="6244181" y="2171838"/>
            <a:ext cx="1081404" cy="1081404"/>
          </a:xfrm>
          <a:prstGeom prst="ellipse">
            <a:avLst/>
          </a:prstGeom>
          <a:ln>
            <a:solidFill>
              <a:srgbClr val="FFD200"/>
            </a:solidFill>
          </a:ln>
          <a:effectLst/>
        </p:spPr>
      </p:pic>
      <p:sp>
        <p:nvSpPr>
          <p:cNvPr id="18" name="Line 10">
            <a:extLst>
              <a:ext uri="{FF2B5EF4-FFF2-40B4-BE49-F238E27FC236}">
                <a16:creationId xmlns:a16="http://schemas.microsoft.com/office/drawing/2014/main" id="{74875BDC-88A3-296A-64CA-DA89E6DA8436}"/>
              </a:ext>
            </a:extLst>
          </p:cNvPr>
          <p:cNvSpPr>
            <a:spLocks noChangeShapeType="1"/>
          </p:cNvSpPr>
          <p:nvPr/>
        </p:nvSpPr>
        <p:spPr bwMode="auto">
          <a:xfrm>
            <a:off x="472354" y="1216094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24" name="Rechteck 72">
            <a:extLst>
              <a:ext uri="{FF2B5EF4-FFF2-40B4-BE49-F238E27FC236}">
                <a16:creationId xmlns:a16="http://schemas.microsoft.com/office/drawing/2014/main" id="{22141623-E0CA-6212-F6A3-CAE90E1744C0}"/>
              </a:ext>
            </a:extLst>
          </p:cNvPr>
          <p:cNvSpPr>
            <a:spLocks/>
          </p:cNvSpPr>
          <p:nvPr/>
        </p:nvSpPr>
        <p:spPr>
          <a:xfrm>
            <a:off x="3089717" y="2339629"/>
            <a:ext cx="1844264" cy="824585"/>
          </a:xfrm>
          <a:prstGeom prst="rect">
            <a:avLst/>
          </a:prstGeom>
          <a:solidFill>
            <a:schemeClr val="bg2">
              <a:alpha val="20000"/>
            </a:schemeClr>
          </a:solidFill>
        </p:spPr>
        <p:txBody>
          <a:bodyPr wrap="square">
            <a:spAutoFit/>
          </a:bodyPr>
          <a:lstStyle/>
          <a:p>
            <a:pPr defTabSz="801472"/>
            <a:r>
              <a:rPr lang="en-US" sz="1227" kern="0">
                <a:solidFill>
                  <a:srgbClr val="FFE600"/>
                </a:solidFill>
                <a:latin typeface="EYInterstate Light"/>
              </a:rPr>
              <a:t>Arpeet Ravalji</a:t>
            </a:r>
          </a:p>
          <a:p>
            <a:pPr defTabSz="801472"/>
            <a:r>
              <a:rPr lang="en-US" sz="877" kern="0">
                <a:solidFill>
                  <a:prstClr val="white"/>
                </a:solidFill>
                <a:latin typeface="EYInterstate Light"/>
              </a:rPr>
              <a:t>Senior Manager</a:t>
            </a:r>
          </a:p>
          <a:p>
            <a:pPr marL="310292" indent="-310292" defTabSz="801472"/>
            <a:endParaRPr lang="en-US" sz="877" kern="0">
              <a:solidFill>
                <a:srgbClr val="FFE600"/>
              </a:solidFill>
              <a:latin typeface="EYInterstate Light"/>
            </a:endParaRPr>
          </a:p>
          <a:p>
            <a:pPr marL="310292" indent="-310292" defTabSz="801472"/>
            <a:r>
              <a:rPr lang="en-US" sz="877" kern="0">
                <a:solidFill>
                  <a:srgbClr val="FFE600"/>
                </a:solidFill>
                <a:latin typeface="EYInterstate Light"/>
              </a:rPr>
              <a:t>        </a:t>
            </a:r>
            <a:r>
              <a:rPr lang="en-US" sz="877" kern="0">
                <a:solidFill>
                  <a:prstClr val="white"/>
                </a:solidFill>
                <a:latin typeface="EYInterstate Light"/>
              </a:rPr>
              <a:t>New York</a:t>
            </a:r>
          </a:p>
          <a:p>
            <a:pPr marL="310292" indent="-310292" defTabSz="801472"/>
            <a:r>
              <a:rPr lang="en-US" sz="877" kern="0">
                <a:solidFill>
                  <a:prstClr val="white"/>
                </a:solidFill>
                <a:latin typeface="EYInterstate Light"/>
              </a:rPr>
              <a:t>        </a:t>
            </a:r>
            <a:r>
              <a:rPr lang="en-US" sz="900" u="sng">
                <a:solidFill>
                  <a:schemeClr val="tx1"/>
                </a:solidFill>
              </a:rPr>
              <a:t>arpeet.Ravalji@ey.com</a:t>
            </a:r>
            <a:endParaRPr lang="de-DE" sz="877" u="sng" kern="0">
              <a:solidFill>
                <a:prstClr val="white"/>
              </a:solidFill>
              <a:latin typeface="EYInterstate Light"/>
            </a:endParaRPr>
          </a:p>
        </p:txBody>
      </p:sp>
      <p:sp>
        <p:nvSpPr>
          <p:cNvPr id="26" name="Freeform 17">
            <a:extLst>
              <a:ext uri="{FF2B5EF4-FFF2-40B4-BE49-F238E27FC236}">
                <a16:creationId xmlns:a16="http://schemas.microsoft.com/office/drawing/2014/main" id="{5FB45BC3-F823-56BF-6405-DCFA9273B60D}"/>
              </a:ext>
            </a:extLst>
          </p:cNvPr>
          <p:cNvSpPr>
            <a:spLocks noEditPoints="1"/>
          </p:cNvSpPr>
          <p:nvPr/>
        </p:nvSpPr>
        <p:spPr bwMode="auto">
          <a:xfrm>
            <a:off x="3194264" y="2860105"/>
            <a:ext cx="137122" cy="195800"/>
          </a:xfrm>
          <a:custGeom>
            <a:avLst/>
            <a:gdLst>
              <a:gd name="T0" fmla="*/ 214 w 221"/>
              <a:gd name="T1" fmla="*/ 77 h 315"/>
              <a:gd name="T2" fmla="*/ 164 w 221"/>
              <a:gd name="T3" fmla="*/ 14 h 315"/>
              <a:gd name="T4" fmla="*/ 110 w 221"/>
              <a:gd name="T5" fmla="*/ 0 h 315"/>
              <a:gd name="T6" fmla="*/ 110 w 221"/>
              <a:gd name="T7" fmla="*/ 0 h 315"/>
              <a:gd name="T8" fmla="*/ 56 w 221"/>
              <a:gd name="T9" fmla="*/ 14 h 315"/>
              <a:gd name="T10" fmla="*/ 6 w 221"/>
              <a:gd name="T11" fmla="*/ 77 h 315"/>
              <a:gd name="T12" fmla="*/ 5 w 221"/>
              <a:gd name="T13" fmla="*/ 132 h 315"/>
              <a:gd name="T14" fmla="*/ 40 w 221"/>
              <a:gd name="T15" fmla="*/ 208 h 315"/>
              <a:gd name="T16" fmla="*/ 94 w 221"/>
              <a:gd name="T17" fmla="*/ 292 h 315"/>
              <a:gd name="T18" fmla="*/ 110 w 221"/>
              <a:gd name="T19" fmla="*/ 315 h 315"/>
              <a:gd name="T20" fmla="*/ 110 w 221"/>
              <a:gd name="T21" fmla="*/ 315 h 315"/>
              <a:gd name="T22" fmla="*/ 126 w 221"/>
              <a:gd name="T23" fmla="*/ 292 h 315"/>
              <a:gd name="T24" fmla="*/ 180 w 221"/>
              <a:gd name="T25" fmla="*/ 208 h 315"/>
              <a:gd name="T26" fmla="*/ 215 w 221"/>
              <a:gd name="T27" fmla="*/ 132 h 315"/>
              <a:gd name="T28" fmla="*/ 214 w 221"/>
              <a:gd name="T29" fmla="*/ 77 h 315"/>
              <a:gd name="T30" fmla="*/ 110 w 221"/>
              <a:gd name="T31" fmla="*/ 174 h 315"/>
              <a:gd name="T32" fmla="*/ 110 w 221"/>
              <a:gd name="T33" fmla="*/ 174 h 315"/>
              <a:gd name="T34" fmla="*/ 110 w 221"/>
              <a:gd name="T35" fmla="*/ 174 h 315"/>
              <a:gd name="T36" fmla="*/ 44 w 221"/>
              <a:gd name="T37" fmla="*/ 108 h 315"/>
              <a:gd name="T38" fmla="*/ 110 w 221"/>
              <a:gd name="T39" fmla="*/ 42 h 315"/>
              <a:gd name="T40" fmla="*/ 110 w 221"/>
              <a:gd name="T41" fmla="*/ 42 h 315"/>
              <a:gd name="T42" fmla="*/ 110 w 221"/>
              <a:gd name="T43" fmla="*/ 42 h 315"/>
              <a:gd name="T44" fmla="*/ 176 w 221"/>
              <a:gd name="T45" fmla="*/ 108 h 315"/>
              <a:gd name="T46" fmla="*/ 110 w 221"/>
              <a:gd name="T47" fmla="*/ 17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21" h="315">
                <a:moveTo>
                  <a:pt x="214" y="77"/>
                </a:moveTo>
                <a:cubicBezTo>
                  <a:pt x="206" y="50"/>
                  <a:pt x="189" y="29"/>
                  <a:pt x="164" y="14"/>
                </a:cubicBezTo>
                <a:cubicBezTo>
                  <a:pt x="147" y="4"/>
                  <a:pt x="129" y="0"/>
                  <a:pt x="110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91" y="0"/>
                  <a:pt x="73" y="4"/>
                  <a:pt x="56" y="14"/>
                </a:cubicBezTo>
                <a:cubicBezTo>
                  <a:pt x="31" y="29"/>
                  <a:pt x="15" y="50"/>
                  <a:pt x="6" y="77"/>
                </a:cubicBezTo>
                <a:cubicBezTo>
                  <a:pt x="1" y="95"/>
                  <a:pt x="0" y="114"/>
                  <a:pt x="5" y="132"/>
                </a:cubicBezTo>
                <a:cubicBezTo>
                  <a:pt x="13" y="159"/>
                  <a:pt x="26" y="184"/>
                  <a:pt x="40" y="208"/>
                </a:cubicBezTo>
                <a:cubicBezTo>
                  <a:pt x="58" y="237"/>
                  <a:pt x="76" y="264"/>
                  <a:pt x="94" y="292"/>
                </a:cubicBezTo>
                <a:cubicBezTo>
                  <a:pt x="99" y="300"/>
                  <a:pt x="104" y="307"/>
                  <a:pt x="110" y="315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16" y="307"/>
                  <a:pt x="121" y="300"/>
                  <a:pt x="126" y="292"/>
                </a:cubicBezTo>
                <a:cubicBezTo>
                  <a:pt x="144" y="264"/>
                  <a:pt x="163" y="237"/>
                  <a:pt x="180" y="208"/>
                </a:cubicBezTo>
                <a:cubicBezTo>
                  <a:pt x="194" y="184"/>
                  <a:pt x="207" y="159"/>
                  <a:pt x="215" y="132"/>
                </a:cubicBezTo>
                <a:cubicBezTo>
                  <a:pt x="221" y="114"/>
                  <a:pt x="220" y="95"/>
                  <a:pt x="214" y="77"/>
                </a:cubicBezTo>
                <a:close/>
                <a:moveTo>
                  <a:pt x="110" y="174"/>
                </a:moveTo>
                <a:cubicBezTo>
                  <a:pt x="110" y="174"/>
                  <a:pt x="110" y="174"/>
                  <a:pt x="110" y="174"/>
                </a:cubicBezTo>
                <a:cubicBezTo>
                  <a:pt x="110" y="174"/>
                  <a:pt x="110" y="174"/>
                  <a:pt x="110" y="174"/>
                </a:cubicBezTo>
                <a:cubicBezTo>
                  <a:pt x="74" y="174"/>
                  <a:pt x="44" y="145"/>
                  <a:pt x="44" y="108"/>
                </a:cubicBezTo>
                <a:cubicBezTo>
                  <a:pt x="44" y="72"/>
                  <a:pt x="74" y="42"/>
                  <a:pt x="110" y="42"/>
                </a:cubicBezTo>
                <a:cubicBezTo>
                  <a:pt x="110" y="42"/>
                  <a:pt x="110" y="42"/>
                  <a:pt x="110" y="42"/>
                </a:cubicBezTo>
                <a:cubicBezTo>
                  <a:pt x="110" y="42"/>
                  <a:pt x="110" y="42"/>
                  <a:pt x="110" y="42"/>
                </a:cubicBezTo>
                <a:cubicBezTo>
                  <a:pt x="147" y="42"/>
                  <a:pt x="176" y="72"/>
                  <a:pt x="176" y="108"/>
                </a:cubicBezTo>
                <a:cubicBezTo>
                  <a:pt x="176" y="145"/>
                  <a:pt x="147" y="174"/>
                  <a:pt x="110" y="174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80147" tIns="40073" rIns="80147" bIns="40073" numCol="1" anchor="t" anchorCtr="0" compatLnSpc="1">
            <a:prstTxWarp prst="textNoShape">
              <a:avLst/>
            </a:prstTxWarp>
          </a:bodyPr>
          <a:lstStyle/>
          <a:p>
            <a:pPr defTabSz="801472">
              <a:defRPr/>
            </a:pPr>
            <a:endParaRPr lang="en-US" sz="1578">
              <a:solidFill>
                <a:srgbClr val="282F39"/>
              </a:solidFill>
              <a:latin typeface="EYInterstate Light"/>
            </a:endParaRPr>
          </a:p>
        </p:txBody>
      </p:sp>
      <p:sp>
        <p:nvSpPr>
          <p:cNvPr id="38" name="Rechteck 72">
            <a:extLst>
              <a:ext uri="{FF2B5EF4-FFF2-40B4-BE49-F238E27FC236}">
                <a16:creationId xmlns:a16="http://schemas.microsoft.com/office/drawing/2014/main" id="{EAF53830-FE29-E4B3-7427-6835B619C0C3}"/>
              </a:ext>
            </a:extLst>
          </p:cNvPr>
          <p:cNvSpPr>
            <a:spLocks/>
          </p:cNvSpPr>
          <p:nvPr/>
        </p:nvSpPr>
        <p:spPr>
          <a:xfrm>
            <a:off x="7380325" y="2319779"/>
            <a:ext cx="1834382" cy="963084"/>
          </a:xfrm>
          <a:prstGeom prst="rect">
            <a:avLst/>
          </a:prstGeom>
          <a:solidFill>
            <a:schemeClr val="bg2">
              <a:alpha val="20000"/>
            </a:schemeClr>
          </a:solidFill>
        </p:spPr>
        <p:txBody>
          <a:bodyPr wrap="square">
            <a:spAutoFit/>
          </a:bodyPr>
          <a:lstStyle/>
          <a:p>
            <a:pPr defTabSz="801472"/>
            <a:r>
              <a:rPr lang="en-US" sz="1227" kern="0">
                <a:solidFill>
                  <a:srgbClr val="FFE600"/>
                </a:solidFill>
                <a:latin typeface="EYInterstate Light"/>
              </a:rPr>
              <a:t>Peter Chang</a:t>
            </a:r>
          </a:p>
          <a:p>
            <a:pPr defTabSz="801472"/>
            <a:r>
              <a:rPr lang="en-US" sz="877" kern="0">
                <a:solidFill>
                  <a:prstClr val="white"/>
                </a:solidFill>
                <a:latin typeface="EYInterstate Light"/>
              </a:rPr>
              <a:t>Associate</a:t>
            </a:r>
          </a:p>
          <a:p>
            <a:pPr marL="310292" indent="-310292" defTabSz="801472"/>
            <a:endParaRPr lang="en-US" sz="877" kern="0">
              <a:solidFill>
                <a:srgbClr val="FFE600"/>
              </a:solidFill>
              <a:latin typeface="EYInterstate Light"/>
            </a:endParaRPr>
          </a:p>
          <a:p>
            <a:pPr marL="310292" indent="-310292" defTabSz="801472"/>
            <a:r>
              <a:rPr lang="en-US" sz="877" kern="0">
                <a:solidFill>
                  <a:srgbClr val="FFE600"/>
                </a:solidFill>
                <a:latin typeface="EYInterstate Light"/>
              </a:rPr>
              <a:t>        </a:t>
            </a:r>
            <a:r>
              <a:rPr lang="en-US" sz="877" kern="0">
                <a:solidFill>
                  <a:prstClr val="white"/>
                </a:solidFill>
                <a:latin typeface="EYInterstate Light"/>
              </a:rPr>
              <a:t>San Francisco</a:t>
            </a:r>
          </a:p>
          <a:p>
            <a:pPr marL="310292" indent="-310292" defTabSz="801472"/>
            <a:r>
              <a:rPr lang="en-US" sz="877" kern="0">
                <a:solidFill>
                  <a:prstClr val="white"/>
                </a:solidFill>
                <a:latin typeface="EYInterstate Light"/>
              </a:rPr>
              <a:t>        </a:t>
            </a:r>
            <a:r>
              <a:rPr lang="en-US" sz="900" u="sng">
                <a:solidFill>
                  <a:schemeClr val="tx1"/>
                </a:solidFill>
              </a:rPr>
              <a:t>Peter.chang@ey.com</a:t>
            </a:r>
          </a:p>
          <a:p>
            <a:pPr marL="310292" indent="-310292" defTabSz="801472"/>
            <a:endParaRPr lang="en-US" sz="900" u="sng">
              <a:solidFill>
                <a:schemeClr val="tx1"/>
              </a:solidFill>
            </a:endParaRPr>
          </a:p>
        </p:txBody>
      </p:sp>
      <p:sp>
        <p:nvSpPr>
          <p:cNvPr id="39" name="Freeform 17">
            <a:extLst>
              <a:ext uri="{FF2B5EF4-FFF2-40B4-BE49-F238E27FC236}">
                <a16:creationId xmlns:a16="http://schemas.microsoft.com/office/drawing/2014/main" id="{AE770DA2-D216-94DE-709F-B1039E35C1BF}"/>
              </a:ext>
            </a:extLst>
          </p:cNvPr>
          <p:cNvSpPr>
            <a:spLocks noEditPoints="1"/>
          </p:cNvSpPr>
          <p:nvPr/>
        </p:nvSpPr>
        <p:spPr bwMode="auto">
          <a:xfrm>
            <a:off x="7467919" y="2846128"/>
            <a:ext cx="137122" cy="195800"/>
          </a:xfrm>
          <a:custGeom>
            <a:avLst/>
            <a:gdLst>
              <a:gd name="T0" fmla="*/ 214 w 221"/>
              <a:gd name="T1" fmla="*/ 77 h 315"/>
              <a:gd name="T2" fmla="*/ 164 w 221"/>
              <a:gd name="T3" fmla="*/ 14 h 315"/>
              <a:gd name="T4" fmla="*/ 110 w 221"/>
              <a:gd name="T5" fmla="*/ 0 h 315"/>
              <a:gd name="T6" fmla="*/ 110 w 221"/>
              <a:gd name="T7" fmla="*/ 0 h 315"/>
              <a:gd name="T8" fmla="*/ 56 w 221"/>
              <a:gd name="T9" fmla="*/ 14 h 315"/>
              <a:gd name="T10" fmla="*/ 6 w 221"/>
              <a:gd name="T11" fmla="*/ 77 h 315"/>
              <a:gd name="T12" fmla="*/ 5 w 221"/>
              <a:gd name="T13" fmla="*/ 132 h 315"/>
              <a:gd name="T14" fmla="*/ 40 w 221"/>
              <a:gd name="T15" fmla="*/ 208 h 315"/>
              <a:gd name="T16" fmla="*/ 94 w 221"/>
              <a:gd name="T17" fmla="*/ 292 h 315"/>
              <a:gd name="T18" fmla="*/ 110 w 221"/>
              <a:gd name="T19" fmla="*/ 315 h 315"/>
              <a:gd name="T20" fmla="*/ 110 w 221"/>
              <a:gd name="T21" fmla="*/ 315 h 315"/>
              <a:gd name="T22" fmla="*/ 126 w 221"/>
              <a:gd name="T23" fmla="*/ 292 h 315"/>
              <a:gd name="T24" fmla="*/ 180 w 221"/>
              <a:gd name="T25" fmla="*/ 208 h 315"/>
              <a:gd name="T26" fmla="*/ 215 w 221"/>
              <a:gd name="T27" fmla="*/ 132 h 315"/>
              <a:gd name="T28" fmla="*/ 214 w 221"/>
              <a:gd name="T29" fmla="*/ 77 h 315"/>
              <a:gd name="T30" fmla="*/ 110 w 221"/>
              <a:gd name="T31" fmla="*/ 174 h 315"/>
              <a:gd name="T32" fmla="*/ 110 w 221"/>
              <a:gd name="T33" fmla="*/ 174 h 315"/>
              <a:gd name="T34" fmla="*/ 110 w 221"/>
              <a:gd name="T35" fmla="*/ 174 h 315"/>
              <a:gd name="T36" fmla="*/ 44 w 221"/>
              <a:gd name="T37" fmla="*/ 108 h 315"/>
              <a:gd name="T38" fmla="*/ 110 w 221"/>
              <a:gd name="T39" fmla="*/ 42 h 315"/>
              <a:gd name="T40" fmla="*/ 110 w 221"/>
              <a:gd name="T41" fmla="*/ 42 h 315"/>
              <a:gd name="T42" fmla="*/ 110 w 221"/>
              <a:gd name="T43" fmla="*/ 42 h 315"/>
              <a:gd name="T44" fmla="*/ 176 w 221"/>
              <a:gd name="T45" fmla="*/ 108 h 315"/>
              <a:gd name="T46" fmla="*/ 110 w 221"/>
              <a:gd name="T47" fmla="*/ 17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21" h="315">
                <a:moveTo>
                  <a:pt x="214" y="77"/>
                </a:moveTo>
                <a:cubicBezTo>
                  <a:pt x="206" y="50"/>
                  <a:pt x="189" y="29"/>
                  <a:pt x="164" y="14"/>
                </a:cubicBezTo>
                <a:cubicBezTo>
                  <a:pt x="147" y="4"/>
                  <a:pt x="129" y="0"/>
                  <a:pt x="110" y="0"/>
                </a:cubicBezTo>
                <a:cubicBezTo>
                  <a:pt x="110" y="0"/>
                  <a:pt x="110" y="0"/>
                  <a:pt x="110" y="0"/>
                </a:cubicBezTo>
                <a:cubicBezTo>
                  <a:pt x="91" y="0"/>
                  <a:pt x="73" y="4"/>
                  <a:pt x="56" y="14"/>
                </a:cubicBezTo>
                <a:cubicBezTo>
                  <a:pt x="31" y="29"/>
                  <a:pt x="15" y="50"/>
                  <a:pt x="6" y="77"/>
                </a:cubicBezTo>
                <a:cubicBezTo>
                  <a:pt x="1" y="95"/>
                  <a:pt x="0" y="114"/>
                  <a:pt x="5" y="132"/>
                </a:cubicBezTo>
                <a:cubicBezTo>
                  <a:pt x="13" y="159"/>
                  <a:pt x="26" y="184"/>
                  <a:pt x="40" y="208"/>
                </a:cubicBezTo>
                <a:cubicBezTo>
                  <a:pt x="58" y="237"/>
                  <a:pt x="76" y="264"/>
                  <a:pt x="94" y="292"/>
                </a:cubicBezTo>
                <a:cubicBezTo>
                  <a:pt x="99" y="300"/>
                  <a:pt x="104" y="307"/>
                  <a:pt x="110" y="315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16" y="307"/>
                  <a:pt x="121" y="300"/>
                  <a:pt x="126" y="292"/>
                </a:cubicBezTo>
                <a:cubicBezTo>
                  <a:pt x="144" y="264"/>
                  <a:pt x="163" y="237"/>
                  <a:pt x="180" y="208"/>
                </a:cubicBezTo>
                <a:cubicBezTo>
                  <a:pt x="194" y="184"/>
                  <a:pt x="207" y="159"/>
                  <a:pt x="215" y="132"/>
                </a:cubicBezTo>
                <a:cubicBezTo>
                  <a:pt x="221" y="114"/>
                  <a:pt x="220" y="95"/>
                  <a:pt x="214" y="77"/>
                </a:cubicBezTo>
                <a:close/>
                <a:moveTo>
                  <a:pt x="110" y="174"/>
                </a:moveTo>
                <a:cubicBezTo>
                  <a:pt x="110" y="174"/>
                  <a:pt x="110" y="174"/>
                  <a:pt x="110" y="174"/>
                </a:cubicBezTo>
                <a:cubicBezTo>
                  <a:pt x="110" y="174"/>
                  <a:pt x="110" y="174"/>
                  <a:pt x="110" y="174"/>
                </a:cubicBezTo>
                <a:cubicBezTo>
                  <a:pt x="74" y="174"/>
                  <a:pt x="44" y="145"/>
                  <a:pt x="44" y="108"/>
                </a:cubicBezTo>
                <a:cubicBezTo>
                  <a:pt x="44" y="72"/>
                  <a:pt x="74" y="42"/>
                  <a:pt x="110" y="42"/>
                </a:cubicBezTo>
                <a:cubicBezTo>
                  <a:pt x="110" y="42"/>
                  <a:pt x="110" y="42"/>
                  <a:pt x="110" y="42"/>
                </a:cubicBezTo>
                <a:cubicBezTo>
                  <a:pt x="110" y="42"/>
                  <a:pt x="110" y="42"/>
                  <a:pt x="110" y="42"/>
                </a:cubicBezTo>
                <a:cubicBezTo>
                  <a:pt x="147" y="42"/>
                  <a:pt x="176" y="72"/>
                  <a:pt x="176" y="108"/>
                </a:cubicBezTo>
                <a:cubicBezTo>
                  <a:pt x="176" y="145"/>
                  <a:pt x="147" y="174"/>
                  <a:pt x="110" y="174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80147" tIns="40073" rIns="80147" bIns="40073" numCol="1" anchor="t" anchorCtr="0" compatLnSpc="1">
            <a:prstTxWarp prst="textNoShape">
              <a:avLst/>
            </a:prstTxWarp>
          </a:bodyPr>
          <a:lstStyle/>
          <a:p>
            <a:pPr defTabSz="801472">
              <a:defRPr/>
            </a:pPr>
            <a:endParaRPr lang="en-US" sz="1578">
              <a:solidFill>
                <a:srgbClr val="282F39"/>
              </a:solidFill>
              <a:latin typeface="EYInterstate Ligh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6ECCDE-E5BE-02BD-FFF3-CA728E6D2E3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9</a:t>
            </a:fld>
            <a:endParaRPr lang="en-GB"/>
          </a:p>
        </p:txBody>
      </p:sp>
      <p:pic>
        <p:nvPicPr>
          <p:cNvPr id="7" name="Picture 6" descr="A person with a beard smiling&#10;&#10;Description automatically generated">
            <a:extLst>
              <a:ext uri="{FF2B5EF4-FFF2-40B4-BE49-F238E27FC236}">
                <a16:creationId xmlns:a16="http://schemas.microsoft.com/office/drawing/2014/main" id="{F64B096D-B7BE-1832-D846-09238294460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4216295" y="3727773"/>
            <a:ext cx="1041908" cy="1041908"/>
          </a:xfrm>
          <a:prstGeom prst="ellipse">
            <a:avLst/>
          </a:prstGeom>
          <a:ln>
            <a:solidFill>
              <a:srgbClr val="FFD200"/>
            </a:solidFill>
          </a:ln>
          <a:effectLst/>
        </p:spPr>
      </p:pic>
      <p:sp>
        <p:nvSpPr>
          <p:cNvPr id="11" name="Rechteck 72">
            <a:extLst>
              <a:ext uri="{FF2B5EF4-FFF2-40B4-BE49-F238E27FC236}">
                <a16:creationId xmlns:a16="http://schemas.microsoft.com/office/drawing/2014/main" id="{A7593518-D42D-52B4-8927-75DCEFFEAD78}"/>
              </a:ext>
            </a:extLst>
          </p:cNvPr>
          <p:cNvSpPr>
            <a:spLocks/>
          </p:cNvSpPr>
          <p:nvPr/>
        </p:nvSpPr>
        <p:spPr>
          <a:xfrm>
            <a:off x="5406104" y="3834726"/>
            <a:ext cx="1844264" cy="804387"/>
          </a:xfrm>
          <a:prstGeom prst="rect">
            <a:avLst/>
          </a:prstGeom>
          <a:solidFill>
            <a:schemeClr val="bg2">
              <a:alpha val="2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defTabSz="801472"/>
            <a:r>
              <a:rPr lang="en-US" sz="1200" kern="0">
                <a:solidFill>
                  <a:srgbClr val="FFE600"/>
                </a:solidFill>
                <a:latin typeface="EYInterstate Light"/>
              </a:rPr>
              <a:t>Manuel Barrios</a:t>
            </a:r>
            <a:endParaRPr lang="en-US" sz="1227" kern="0">
              <a:solidFill>
                <a:srgbClr val="FFE600"/>
              </a:solidFill>
              <a:latin typeface="EYInterstate Light"/>
            </a:endParaRPr>
          </a:p>
          <a:p>
            <a:pPr defTabSz="801472"/>
            <a:r>
              <a:rPr lang="en-US" sz="850" kern="0">
                <a:solidFill>
                  <a:prstClr val="white"/>
                </a:solidFill>
                <a:latin typeface="EYInterstate Light"/>
              </a:rPr>
              <a:t>Senior Associate</a:t>
            </a:r>
          </a:p>
          <a:p>
            <a:pPr marL="309880" indent="-309880" defTabSz="801472"/>
            <a:endParaRPr lang="en-US" sz="877" kern="0">
              <a:solidFill>
                <a:srgbClr val="FFE600"/>
              </a:solidFill>
              <a:latin typeface="EYInterstate Light"/>
            </a:endParaRPr>
          </a:p>
          <a:p>
            <a:pPr marL="309880" indent="-309880" defTabSz="801472"/>
            <a:r>
              <a:rPr lang="en-US" sz="850" kern="0">
                <a:solidFill>
                  <a:srgbClr val="FFE600"/>
                </a:solidFill>
                <a:latin typeface="EYInterstate Light"/>
                <a:cs typeface="Arial"/>
              </a:rPr>
              <a:t> </a:t>
            </a:r>
            <a:r>
              <a:rPr lang="en-US" sz="850" kern="0">
                <a:solidFill>
                  <a:prstClr val="white"/>
                </a:solidFill>
                <a:latin typeface="EYInterstate Light"/>
                <a:cs typeface="Arial"/>
              </a:rPr>
              <a:t>New York</a:t>
            </a:r>
          </a:p>
          <a:p>
            <a:pPr marL="309880" indent="-309880" defTabSz="801472"/>
            <a:r>
              <a:rPr lang="en-US" sz="850" u="sng" kern="0">
                <a:solidFill>
                  <a:prstClr val="white"/>
                </a:solidFill>
                <a:latin typeface="EYInterstate Light"/>
                <a:cs typeface="Arial"/>
              </a:rPr>
              <a:t>manuel.taborga.barrios@ey.com</a:t>
            </a:r>
            <a:endParaRPr lang="en-US" sz="850" u="sng">
              <a:solidFill>
                <a:prstClr val="white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021310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28">
            <a:extLst>
              <a:ext uri="{FF2B5EF4-FFF2-40B4-BE49-F238E27FC236}">
                <a16:creationId xmlns:a16="http://schemas.microsoft.com/office/drawing/2014/main" id="{E6645B23-383C-2305-9C9E-774B525CA2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16" b="1719"/>
          <a:stretch/>
        </p:blipFill>
        <p:spPr>
          <a:xfrm>
            <a:off x="1" y="0"/>
            <a:ext cx="10691812" cy="7559675"/>
          </a:xfrm>
          <a:prstGeom prst="rect">
            <a:avLst/>
          </a:prstGeom>
        </p:spPr>
      </p:pic>
      <p:sp>
        <p:nvSpPr>
          <p:cNvPr id="11" name="Freeform: Shape 3">
            <a:extLst>
              <a:ext uri="{FF2B5EF4-FFF2-40B4-BE49-F238E27FC236}">
                <a16:creationId xmlns:a16="http://schemas.microsoft.com/office/drawing/2014/main" id="{31AAB596-E4AB-47B8-89DA-9FF2689AAE5A}"/>
              </a:ext>
            </a:extLst>
          </p:cNvPr>
          <p:cNvSpPr/>
          <p:nvPr/>
        </p:nvSpPr>
        <p:spPr bwMode="gray">
          <a:xfrm>
            <a:off x="732672" y="404321"/>
            <a:ext cx="6196345" cy="7015654"/>
          </a:xfrm>
          <a:custGeom>
            <a:avLst/>
            <a:gdLst>
              <a:gd name="connsiteX0" fmla="*/ 0 w 4876800"/>
              <a:gd name="connsiteY0" fmla="*/ 0 h 3613499"/>
              <a:gd name="connsiteX1" fmla="*/ 4876800 w 4876800"/>
              <a:gd name="connsiteY1" fmla="*/ 0 h 3613499"/>
              <a:gd name="connsiteX2" fmla="*/ 4876800 w 4876800"/>
              <a:gd name="connsiteY2" fmla="*/ 2753587 h 3613499"/>
              <a:gd name="connsiteX3" fmla="*/ 0 w 4876800"/>
              <a:gd name="connsiteY3" fmla="*/ 3613499 h 3613499"/>
              <a:gd name="connsiteX0" fmla="*/ 0 w 4876800"/>
              <a:gd name="connsiteY0" fmla="*/ 0 h 3613499"/>
              <a:gd name="connsiteX1" fmla="*/ 4876800 w 4876800"/>
              <a:gd name="connsiteY1" fmla="*/ 0 h 3613499"/>
              <a:gd name="connsiteX2" fmla="*/ 4876800 w 4876800"/>
              <a:gd name="connsiteY2" fmla="*/ 2930225 h 3613499"/>
              <a:gd name="connsiteX3" fmla="*/ 0 w 4876800"/>
              <a:gd name="connsiteY3" fmla="*/ 3613499 h 3613499"/>
              <a:gd name="connsiteX4" fmla="*/ 0 w 4876800"/>
              <a:gd name="connsiteY4" fmla="*/ 0 h 3613499"/>
              <a:gd name="connsiteX0" fmla="*/ 0 w 4876800"/>
              <a:gd name="connsiteY0" fmla="*/ 0 h 3568078"/>
              <a:gd name="connsiteX1" fmla="*/ 4876800 w 4876800"/>
              <a:gd name="connsiteY1" fmla="*/ 0 h 3568078"/>
              <a:gd name="connsiteX2" fmla="*/ 4876800 w 4876800"/>
              <a:gd name="connsiteY2" fmla="*/ 2930225 h 3568078"/>
              <a:gd name="connsiteX3" fmla="*/ 0 w 4876800"/>
              <a:gd name="connsiteY3" fmla="*/ 3568078 h 3568078"/>
              <a:gd name="connsiteX4" fmla="*/ 0 w 4876800"/>
              <a:gd name="connsiteY4" fmla="*/ 0 h 3568078"/>
              <a:gd name="connsiteX0" fmla="*/ 0 w 4876800"/>
              <a:gd name="connsiteY0" fmla="*/ 0 h 3568078"/>
              <a:gd name="connsiteX1" fmla="*/ 4876800 w 4876800"/>
              <a:gd name="connsiteY1" fmla="*/ 0 h 3568078"/>
              <a:gd name="connsiteX2" fmla="*/ 4873059 w 4876800"/>
              <a:gd name="connsiteY2" fmla="*/ 3003307 h 3568078"/>
              <a:gd name="connsiteX3" fmla="*/ 0 w 4876800"/>
              <a:gd name="connsiteY3" fmla="*/ 3568078 h 3568078"/>
              <a:gd name="connsiteX4" fmla="*/ 0 w 4876800"/>
              <a:gd name="connsiteY4" fmla="*/ 0 h 356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6800" h="3568078">
                <a:moveTo>
                  <a:pt x="0" y="0"/>
                </a:moveTo>
                <a:lnTo>
                  <a:pt x="4876800" y="0"/>
                </a:lnTo>
                <a:lnTo>
                  <a:pt x="4873059" y="3003307"/>
                </a:lnTo>
                <a:lnTo>
                  <a:pt x="0" y="3568078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83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111" tIns="40056" rIns="80111" bIns="400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2949">
              <a:spcAft>
                <a:spcPts val="526"/>
              </a:spcAft>
              <a:defRPr/>
            </a:pPr>
            <a:endParaRPr lang="en-US" sz="1578" kern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extfeld 4">
            <a:extLst>
              <a:ext uri="{FF2B5EF4-FFF2-40B4-BE49-F238E27FC236}">
                <a16:creationId xmlns:a16="http://schemas.microsoft.com/office/drawing/2014/main" id="{F938F059-676D-4181-BC5F-2FA372216E94}"/>
              </a:ext>
            </a:extLst>
          </p:cNvPr>
          <p:cNvSpPr txBox="1"/>
          <p:nvPr/>
        </p:nvSpPr>
        <p:spPr bwMode="gray">
          <a:xfrm>
            <a:off x="1178544" y="617377"/>
            <a:ext cx="3161337" cy="404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b="1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Table of Contents</a:t>
            </a:r>
          </a:p>
        </p:txBody>
      </p:sp>
      <p:graphicFrame>
        <p:nvGraphicFramePr>
          <p:cNvPr id="13" name="Table 6">
            <a:extLst>
              <a:ext uri="{FF2B5EF4-FFF2-40B4-BE49-F238E27FC236}">
                <a16:creationId xmlns:a16="http://schemas.microsoft.com/office/drawing/2014/main" id="{160AA540-7563-41CF-A011-8A8C1CF65B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881901"/>
              </p:ext>
            </p:extLst>
          </p:nvPr>
        </p:nvGraphicFramePr>
        <p:xfrm>
          <a:off x="1604039" y="1120731"/>
          <a:ext cx="4672497" cy="5167554"/>
        </p:xfrm>
        <a:graphic>
          <a:graphicData uri="http://schemas.openxmlformats.org/drawingml/2006/table">
            <a:tbl>
              <a:tblPr firstRow="1" bandRow="1"/>
              <a:tblGrid>
                <a:gridCol w="3862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9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9617">
                <a:tc>
                  <a:txBody>
                    <a:bodyPr/>
                    <a:lstStyle>
                      <a:lvl1pPr marL="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21171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4234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56352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08469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605868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12704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64821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169389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High Level Updates to the Enabler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cs typeface="Arial"/>
                        </a:rPr>
                        <a:t>3</a:t>
                      </a:r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039">
                <a:tc>
                  <a:txBody>
                    <a:bodyPr/>
                    <a:lstStyle>
                      <a:lvl1pPr marL="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21171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4234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56352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08469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605868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12704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64821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169389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.1 - The Purpose of the New Enabler Release</a:t>
                      </a:r>
                    </a:p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.2 - v4.1 vs. v4.2: Transitioning to an Enhanced Data Pack</a:t>
                      </a:r>
                    </a:p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.3 – The Updated Process Guide</a:t>
                      </a:r>
                    </a:p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/>
                        </a:rPr>
                        <a:t>1.4 – The Change Managment Strategy</a:t>
                      </a:r>
                      <a:endParaRPr lang="en-US" sz="600" noProof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algn="r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4</a:t>
                      </a:r>
                      <a:b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5</a:t>
                      </a:r>
                      <a:b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6</a:t>
                      </a:r>
                      <a:b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100" kern="120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189323" marR="63108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004193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New Databook Views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0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8873420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2.1 – New Databook Views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2-14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0052089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How To Get Started With the Enabler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5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745198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3.1 – Process Overview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6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274798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marR="0" lvl="0" indent="0" algn="l" defTabSz="1084046" rtl="0" eaLnBrk="1" fontAlgn="b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The Strategic Future of the TMT Enabler</a:t>
                      </a:r>
                      <a:endParaRPr lang="de-DE" sz="600" kern="1200">
                        <a:solidFill>
                          <a:sysClr val="windowText" lastClr="000000"/>
                        </a:solidFill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626221"/>
                  </a:ext>
                </a:extLst>
              </a:tr>
              <a:tr h="349617">
                <a:tc>
                  <a:txBody>
                    <a:bodyPr/>
                    <a:lstStyle>
                      <a:lvl1pPr marL="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21171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4234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56352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08469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605868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12704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64821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169389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4.1 – A Future with no Alteryx?</a:t>
                      </a:r>
                    </a:p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4.2 – What Does the Python Code Look Like?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cs typeface="Arial"/>
                        </a:rPr>
                        <a:t>16</a:t>
                      </a:r>
                    </a:p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cs typeface="Arial"/>
                        </a:rPr>
                        <a:t>17</a:t>
                      </a:r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54365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The Product Team – The Dream Team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7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16395"/>
                  </a:ext>
                </a:extLst>
              </a:tr>
              <a:tr h="349617">
                <a:tc>
                  <a:txBody>
                    <a:bodyPr/>
                    <a:lstStyle/>
                    <a:p>
                      <a:pPr marL="0" algn="l" defTabSz="1084046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en-US" sz="11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5.1 – Meet the Team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</a:rPr>
                        <a:t>18</a:t>
                      </a: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788555"/>
                  </a:ext>
                </a:extLst>
              </a:tr>
            </a:tbl>
          </a:graphicData>
        </a:graphic>
      </p:graphicFrame>
      <p:sp>
        <p:nvSpPr>
          <p:cNvPr id="14" name="Textfeld 19">
            <a:extLst>
              <a:ext uri="{FF2B5EF4-FFF2-40B4-BE49-F238E27FC236}">
                <a16:creationId xmlns:a16="http://schemas.microsoft.com/office/drawing/2014/main" id="{06B75771-A73B-473B-97CA-40A5F81E176F}"/>
              </a:ext>
            </a:extLst>
          </p:cNvPr>
          <p:cNvSpPr txBox="1"/>
          <p:nvPr/>
        </p:nvSpPr>
        <p:spPr bwMode="gray">
          <a:xfrm>
            <a:off x="1178540" y="1125892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1</a:t>
            </a:r>
          </a:p>
        </p:txBody>
      </p:sp>
      <p:sp>
        <p:nvSpPr>
          <p:cNvPr id="18" name="Textfeld 23">
            <a:extLst>
              <a:ext uri="{FF2B5EF4-FFF2-40B4-BE49-F238E27FC236}">
                <a16:creationId xmlns:a16="http://schemas.microsoft.com/office/drawing/2014/main" id="{5256C76F-6A56-4741-A3BC-1AFDB596B1A6}"/>
              </a:ext>
            </a:extLst>
          </p:cNvPr>
          <p:cNvSpPr txBox="1"/>
          <p:nvPr/>
        </p:nvSpPr>
        <p:spPr bwMode="gray">
          <a:xfrm>
            <a:off x="1178539" y="2850612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2</a:t>
            </a:r>
          </a:p>
        </p:txBody>
      </p:sp>
      <p:sp>
        <p:nvSpPr>
          <p:cNvPr id="19" name="Textfeld 16">
            <a:extLst>
              <a:ext uri="{FF2B5EF4-FFF2-40B4-BE49-F238E27FC236}">
                <a16:creationId xmlns:a16="http://schemas.microsoft.com/office/drawing/2014/main" id="{FE270D2E-0395-4DE5-A2CD-9485DA51BF56}"/>
              </a:ext>
            </a:extLst>
          </p:cNvPr>
          <p:cNvSpPr txBox="1"/>
          <p:nvPr/>
        </p:nvSpPr>
        <p:spPr bwMode="gray">
          <a:xfrm>
            <a:off x="1178539" y="3690717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3</a:t>
            </a: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78C3CAF5-7052-48C1-BA6D-D2AAFDF0CE8B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9893127" y="6345649"/>
            <a:ext cx="265765" cy="272722"/>
            <a:chOff x="7110" y="4004"/>
            <a:chExt cx="191" cy="196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BC018F23-D5B7-44B0-88C5-649CB44BC2A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D0F22482-8293-430A-9862-D45EA985D14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8A88CC0-B267-413C-9B75-FE4C5980D39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</p:grpSp>
      <p:sp>
        <p:nvSpPr>
          <p:cNvPr id="2" name="Textfeld 16">
            <a:extLst>
              <a:ext uri="{FF2B5EF4-FFF2-40B4-BE49-F238E27FC236}">
                <a16:creationId xmlns:a16="http://schemas.microsoft.com/office/drawing/2014/main" id="{66D88B35-653C-D2A2-D051-DC7369097B08}"/>
              </a:ext>
            </a:extLst>
          </p:cNvPr>
          <p:cNvSpPr txBox="1"/>
          <p:nvPr/>
        </p:nvSpPr>
        <p:spPr bwMode="gray">
          <a:xfrm>
            <a:off x="1178538" y="4446067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4</a:t>
            </a:r>
          </a:p>
        </p:txBody>
      </p:sp>
      <p:sp>
        <p:nvSpPr>
          <p:cNvPr id="3" name="Textfeld 16">
            <a:extLst>
              <a:ext uri="{FF2B5EF4-FFF2-40B4-BE49-F238E27FC236}">
                <a16:creationId xmlns:a16="http://schemas.microsoft.com/office/drawing/2014/main" id="{E425B145-03ED-199B-6252-A05EC8D60CE4}"/>
              </a:ext>
            </a:extLst>
          </p:cNvPr>
          <p:cNvSpPr txBox="1"/>
          <p:nvPr/>
        </p:nvSpPr>
        <p:spPr bwMode="gray">
          <a:xfrm>
            <a:off x="1178538" y="5462675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6801135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8D883-3471-93FA-5A3B-45350B38E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E7D057-DEE1-21AA-FCB3-5FD286A73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| TMT Enabler Update V4+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C97EB-42E2-13ED-DFCE-01BD39D767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CC7CD6B-17C2-EBE8-0155-54EF83421707}"/>
              </a:ext>
            </a:extLst>
          </p:cNvPr>
          <p:cNvSpPr txBox="1">
            <a:spLocks/>
          </p:cNvSpPr>
          <p:nvPr/>
        </p:nvSpPr>
        <p:spPr>
          <a:xfrm>
            <a:off x="534987" y="3099480"/>
            <a:ext cx="9621838" cy="13607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000" b="1">
                <a:solidFill>
                  <a:schemeClr val="tx1"/>
                </a:solidFill>
                <a:latin typeface="EYInterstate" panose="02000503020000020004" pitchFamily="2" charset="0"/>
                <a:sym typeface="EYInterstate Light" panose="02000506000000020004" pitchFamily="2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24933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500520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1.2 - v4.1 vs v4.2: Transitioning to an Enhanced Data Pack</a:t>
            </a:r>
          </a:p>
        </p:txBody>
      </p:sp>
      <p:sp>
        <p:nvSpPr>
          <p:cNvPr id="5" name="Content Placeholder 11">
            <a:extLst>
              <a:ext uri="{FF2B5EF4-FFF2-40B4-BE49-F238E27FC236}">
                <a16:creationId xmlns:a16="http://schemas.microsoft.com/office/drawing/2014/main" id="{325AB07F-3D06-0F7C-B38A-F16CA328A686}"/>
              </a:ext>
            </a:extLst>
          </p:cNvPr>
          <p:cNvSpPr txBox="1">
            <a:spLocks/>
          </p:cNvSpPr>
          <p:nvPr/>
        </p:nvSpPr>
        <p:spPr>
          <a:xfrm>
            <a:off x="4413172" y="5913437"/>
            <a:ext cx="3599793" cy="2454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defRPr sz="1000" b="1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itchFamily="34" charset="0"/>
              <a:buNone/>
              <a:defRPr lang="en-US" sz="1000" kern="12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216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itchFamily="34" charset="0"/>
              <a:buChar char="►"/>
              <a:defRPr lang="en-US" sz="1000" kern="12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432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itchFamily="34" charset="0"/>
              <a:buChar char="►"/>
              <a:defRPr lang="en-US" sz="1000" kern="12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648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itchFamily="34" charset="0"/>
              <a:buChar char="►"/>
              <a:defRPr lang="en-US" sz="1000" kern="12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216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+mj-lt"/>
              <a:buAutoNum type="alphaUcPeriod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648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solidFill>
                  <a:srgbClr val="212529"/>
                </a:solidFill>
              </a:rPr>
              <a:t>* The data is for illustrative purposes only</a:t>
            </a:r>
            <a:endParaRPr lang="en-US" b="0">
              <a:solidFill>
                <a:srgbClr val="212529"/>
              </a:solidFill>
              <a:latin typeface="+mj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184EFD4-1327-D7A1-F6B9-D8A2F5D53424}"/>
              </a:ext>
            </a:extLst>
          </p:cNvPr>
          <p:cNvGrpSpPr/>
          <p:nvPr/>
        </p:nvGrpSpPr>
        <p:grpSpPr>
          <a:xfrm>
            <a:off x="1574005" y="1084359"/>
            <a:ext cx="7543800" cy="5943600"/>
            <a:chOff x="1653444" y="1022350"/>
            <a:chExt cx="7543800" cy="5943600"/>
          </a:xfrm>
        </p:grpSpPr>
        <p:sp>
          <p:nvSpPr>
            <p:cNvPr id="8" name="Google Shape;4230;p60">
              <a:extLst>
                <a:ext uri="{FF2B5EF4-FFF2-40B4-BE49-F238E27FC236}">
                  <a16:creationId xmlns:a16="http://schemas.microsoft.com/office/drawing/2014/main" id="{353FF61E-1B47-C4DC-E158-E36A34DE7C8E}"/>
                </a:ext>
              </a:extLst>
            </p:cNvPr>
            <p:cNvSpPr txBox="1"/>
            <p:nvPr/>
          </p:nvSpPr>
          <p:spPr>
            <a:xfrm>
              <a:off x="6654915" y="1419530"/>
              <a:ext cx="2542329" cy="338693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5"/>
                <a:buFont typeface="Arial"/>
                <a:buNone/>
                <a:tabLst/>
                <a:defRPr/>
              </a:pPr>
              <a:endParaRPr kumimoji="0" sz="855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4233;p60">
              <a:extLst>
                <a:ext uri="{FF2B5EF4-FFF2-40B4-BE49-F238E27FC236}">
                  <a16:creationId xmlns:a16="http://schemas.microsoft.com/office/drawing/2014/main" id="{724EA36D-756A-8E48-86C6-3B890B17F0EB}"/>
                </a:ext>
              </a:extLst>
            </p:cNvPr>
            <p:cNvSpPr txBox="1"/>
            <p:nvPr/>
          </p:nvSpPr>
          <p:spPr>
            <a:xfrm>
              <a:off x="6654915" y="2109780"/>
              <a:ext cx="2542329" cy="338693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5"/>
                <a:buFont typeface="Arial"/>
                <a:buNone/>
                <a:tabLst/>
                <a:defRPr/>
              </a:pPr>
              <a:endParaRPr kumimoji="0" sz="855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4231;p60">
              <a:extLst>
                <a:ext uri="{FF2B5EF4-FFF2-40B4-BE49-F238E27FC236}">
                  <a16:creationId xmlns:a16="http://schemas.microsoft.com/office/drawing/2014/main" id="{35E7D745-DCB4-6885-CD68-85B993F6EF1D}"/>
                </a:ext>
              </a:extLst>
            </p:cNvPr>
            <p:cNvSpPr txBox="1"/>
            <p:nvPr/>
          </p:nvSpPr>
          <p:spPr>
            <a:xfrm>
              <a:off x="1810608" y="1291370"/>
              <a:ext cx="4935716" cy="57672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246250" tIns="30775" rIns="61550" bIns="30775" anchor="ctr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Usability &amp; Speed</a:t>
              </a:r>
              <a:endParaRPr kumimoji="0" sz="14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4236;p60">
              <a:extLst>
                <a:ext uri="{FF2B5EF4-FFF2-40B4-BE49-F238E27FC236}">
                  <a16:creationId xmlns:a16="http://schemas.microsoft.com/office/drawing/2014/main" id="{AE97AB1D-978C-7806-A869-AB089A9B4D19}"/>
                </a:ext>
              </a:extLst>
            </p:cNvPr>
            <p:cNvSpPr txBox="1"/>
            <p:nvPr/>
          </p:nvSpPr>
          <p:spPr>
            <a:xfrm>
              <a:off x="6654915" y="2799470"/>
              <a:ext cx="2542329" cy="320399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5"/>
                <a:buFont typeface="Arial"/>
                <a:buNone/>
                <a:tabLst/>
                <a:defRPr/>
              </a:pPr>
              <a:endParaRPr kumimoji="0" sz="855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4234;p60">
              <a:extLst>
                <a:ext uri="{FF2B5EF4-FFF2-40B4-BE49-F238E27FC236}">
                  <a16:creationId xmlns:a16="http://schemas.microsoft.com/office/drawing/2014/main" id="{07E494E5-276C-1E03-2D35-60C011FC183C}"/>
                </a:ext>
              </a:extLst>
            </p:cNvPr>
            <p:cNvSpPr txBox="1"/>
            <p:nvPr/>
          </p:nvSpPr>
          <p:spPr>
            <a:xfrm>
              <a:off x="1810608" y="1981620"/>
              <a:ext cx="4935716" cy="57672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246250" tIns="30775" rIns="61550" bIns="30775" anchor="ctr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r>
                <a:rPr lang="en-US" sz="1400">
                  <a:solidFill>
                    <a:schemeClr val="bg1"/>
                  </a:solidFill>
                  <a:latin typeface="EYInterstate Light" panose="02000506000000020004" pitchFamily="2" charset="0"/>
                </a:rPr>
                <a:t>Interactive Cohorts, &amp; ARR Vintage Layer Cake</a:t>
              </a:r>
              <a:endParaRPr kumimoji="0" sz="14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4239;p60">
              <a:extLst>
                <a:ext uri="{FF2B5EF4-FFF2-40B4-BE49-F238E27FC236}">
                  <a16:creationId xmlns:a16="http://schemas.microsoft.com/office/drawing/2014/main" id="{18A261B5-0AC1-1DBD-194C-EE9BE2C1B7F8}"/>
                </a:ext>
              </a:extLst>
            </p:cNvPr>
            <p:cNvSpPr txBox="1"/>
            <p:nvPr/>
          </p:nvSpPr>
          <p:spPr>
            <a:xfrm>
              <a:off x="6654915" y="3501544"/>
              <a:ext cx="2542329" cy="320398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55"/>
                <a:buFont typeface="Arial"/>
                <a:buNone/>
                <a:tabLst/>
                <a:defRPr/>
              </a:pPr>
              <a:endParaRPr kumimoji="0" sz="855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4237;p60">
              <a:extLst>
                <a:ext uri="{FF2B5EF4-FFF2-40B4-BE49-F238E27FC236}">
                  <a16:creationId xmlns:a16="http://schemas.microsoft.com/office/drawing/2014/main" id="{2D258C45-F1DB-EFE1-1FAF-4C06979065CA}"/>
                </a:ext>
              </a:extLst>
            </p:cNvPr>
            <p:cNvSpPr txBox="1"/>
            <p:nvPr/>
          </p:nvSpPr>
          <p:spPr>
            <a:xfrm>
              <a:off x="1810608" y="2671309"/>
              <a:ext cx="4935716" cy="57672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246250" tIns="30775" rIns="61550" bIns="30775" anchor="ctr" anchorCtr="0">
              <a:noAutofit/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Product Migration</a:t>
              </a:r>
              <a:endParaRPr kumimoji="0" sz="14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4240;p60">
              <a:extLst>
                <a:ext uri="{FF2B5EF4-FFF2-40B4-BE49-F238E27FC236}">
                  <a16:creationId xmlns:a16="http://schemas.microsoft.com/office/drawing/2014/main" id="{A09F84B3-0462-2FA8-3B43-B3F01C76AF8D}"/>
                </a:ext>
              </a:extLst>
            </p:cNvPr>
            <p:cNvSpPr txBox="1"/>
            <p:nvPr/>
          </p:nvSpPr>
          <p:spPr>
            <a:xfrm>
              <a:off x="1810608" y="3373383"/>
              <a:ext cx="4935716" cy="57672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246250" tIns="30775" rIns="61550" bIns="30775" anchor="ctr" anchorCtr="0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400">
                  <a:solidFill>
                    <a:schemeClr val="bg1"/>
                  </a:solidFill>
                  <a:latin typeface="EYInterstate Light" panose="02000506000000020004" pitchFamily="2" charset="0"/>
                </a:rPr>
                <a:t>FX/Constant Currency option</a:t>
              </a:r>
            </a:p>
          </p:txBody>
        </p:sp>
        <p:sp>
          <p:nvSpPr>
            <p:cNvPr id="19" name="Google Shape;4244;p60">
              <a:extLst>
                <a:ext uri="{FF2B5EF4-FFF2-40B4-BE49-F238E27FC236}">
                  <a16:creationId xmlns:a16="http://schemas.microsoft.com/office/drawing/2014/main" id="{B9C4FA67-8C7F-92E8-DA51-A6C844ADF793}"/>
                </a:ext>
              </a:extLst>
            </p:cNvPr>
            <p:cNvSpPr txBox="1"/>
            <p:nvPr/>
          </p:nvSpPr>
          <p:spPr>
            <a:xfrm>
              <a:off x="6871851" y="1022350"/>
              <a:ext cx="1064872" cy="5943600"/>
            </a:xfrm>
            <a:prstGeom prst="rect">
              <a:avLst/>
            </a:prstGeom>
            <a:noFill/>
            <a:ln w="9525" cap="flat" cmpd="sng">
              <a:solidFill>
                <a:srgbClr val="D9D9D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lvl="1" algn="ctr"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b="1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v4.1</a:t>
              </a:r>
              <a:endParaRPr kern="0"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4245;p60">
              <a:extLst>
                <a:ext uri="{FF2B5EF4-FFF2-40B4-BE49-F238E27FC236}">
                  <a16:creationId xmlns:a16="http://schemas.microsoft.com/office/drawing/2014/main" id="{8075E8BC-95CD-8B17-A868-A02B045B1024}"/>
                </a:ext>
              </a:extLst>
            </p:cNvPr>
            <p:cNvSpPr txBox="1"/>
            <p:nvPr/>
          </p:nvSpPr>
          <p:spPr>
            <a:xfrm>
              <a:off x="8012906" y="1022350"/>
              <a:ext cx="1064872" cy="5943600"/>
            </a:xfrm>
            <a:prstGeom prst="rect">
              <a:avLst/>
            </a:prstGeom>
            <a:noFill/>
            <a:ln w="9525" cap="flat" cmpd="sng">
              <a:solidFill>
                <a:srgbClr val="D9D9D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1550" tIns="61550" rIns="61550" bIns="30775" anchor="t" anchorCtr="0">
              <a:noAutofit/>
            </a:bodyPr>
            <a:lstStyle/>
            <a:p>
              <a:pPr marL="0" lvl="1" algn="ctr"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b="1" kern="0">
                  <a:latin typeface="EYInterstate Light" panose="02000506000000020004" pitchFamily="2" charset="0"/>
                  <a:ea typeface="Arial"/>
                  <a:cs typeface="Arial"/>
                  <a:sym typeface="Arial"/>
                </a:rPr>
                <a:t>v4.2</a:t>
              </a:r>
              <a:endParaRPr kern="0">
                <a:latin typeface="EYInterstate Light" panose="02000506000000020004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4249;p60">
              <a:extLst>
                <a:ext uri="{FF2B5EF4-FFF2-40B4-BE49-F238E27FC236}">
                  <a16:creationId xmlns:a16="http://schemas.microsoft.com/office/drawing/2014/main" id="{4DCD7379-089B-2DCF-A21B-EEB6808EC001}"/>
                </a:ext>
              </a:extLst>
            </p:cNvPr>
            <p:cNvSpPr/>
            <p:nvPr/>
          </p:nvSpPr>
          <p:spPr>
            <a:xfrm>
              <a:off x="1653444" y="1419512"/>
              <a:ext cx="320438" cy="320438"/>
            </a:xfrm>
            <a:prstGeom prst="ellipse">
              <a:avLst/>
            </a:pr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1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4250;p60">
              <a:extLst>
                <a:ext uri="{FF2B5EF4-FFF2-40B4-BE49-F238E27FC236}">
                  <a16:creationId xmlns:a16="http://schemas.microsoft.com/office/drawing/2014/main" id="{12D96370-0E97-896A-306F-68FD14E4DD0C}"/>
                </a:ext>
              </a:extLst>
            </p:cNvPr>
            <p:cNvSpPr/>
            <p:nvPr/>
          </p:nvSpPr>
          <p:spPr>
            <a:xfrm>
              <a:off x="1653444" y="2109763"/>
              <a:ext cx="320438" cy="320438"/>
            </a:xfrm>
            <a:prstGeom prst="ellipse">
              <a:avLst/>
            </a:pr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2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4251;p60">
              <a:extLst>
                <a:ext uri="{FF2B5EF4-FFF2-40B4-BE49-F238E27FC236}">
                  <a16:creationId xmlns:a16="http://schemas.microsoft.com/office/drawing/2014/main" id="{D42BC400-1625-0ABD-07CB-32B93AD22625}"/>
                </a:ext>
              </a:extLst>
            </p:cNvPr>
            <p:cNvSpPr/>
            <p:nvPr/>
          </p:nvSpPr>
          <p:spPr>
            <a:xfrm>
              <a:off x="1653444" y="2799451"/>
              <a:ext cx="320438" cy="320438"/>
            </a:xfrm>
            <a:prstGeom prst="ellipse">
              <a:avLst/>
            </a:pr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3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4252;p60">
              <a:extLst>
                <a:ext uri="{FF2B5EF4-FFF2-40B4-BE49-F238E27FC236}">
                  <a16:creationId xmlns:a16="http://schemas.microsoft.com/office/drawing/2014/main" id="{2DDFE980-6BCA-2A8D-9D7B-3DF9D0A611EF}"/>
                </a:ext>
              </a:extLst>
            </p:cNvPr>
            <p:cNvSpPr/>
            <p:nvPr/>
          </p:nvSpPr>
          <p:spPr>
            <a:xfrm>
              <a:off x="1653444" y="3501526"/>
              <a:ext cx="320438" cy="320438"/>
            </a:xfrm>
            <a:prstGeom prst="ellipse">
              <a:avLst/>
            </a:prstGeom>
            <a:solidFill>
              <a:schemeClr val="tx2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4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1E78BC1-BEF1-B6CA-AF20-838F91F3FF1C}"/>
                </a:ext>
              </a:extLst>
            </p:cNvPr>
            <p:cNvGrpSpPr/>
            <p:nvPr/>
          </p:nvGrpSpPr>
          <p:grpSpPr>
            <a:xfrm>
              <a:off x="1653444" y="4072253"/>
              <a:ext cx="7543800" cy="576724"/>
              <a:chOff x="442913" y="4550355"/>
              <a:chExt cx="7543800" cy="576724"/>
            </a:xfrm>
          </p:grpSpPr>
          <p:sp>
            <p:nvSpPr>
              <p:cNvPr id="44" name="Google Shape;4242;p60">
                <a:extLst>
                  <a:ext uri="{FF2B5EF4-FFF2-40B4-BE49-F238E27FC236}">
                    <a16:creationId xmlns:a16="http://schemas.microsoft.com/office/drawing/2014/main" id="{1FA69C15-69C0-4C15-E55F-D6200EBF5C99}"/>
                  </a:ext>
                </a:extLst>
              </p:cNvPr>
              <p:cNvSpPr txBox="1"/>
              <p:nvPr/>
            </p:nvSpPr>
            <p:spPr>
              <a:xfrm>
                <a:off x="5444384" y="4678480"/>
                <a:ext cx="2542329" cy="320438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61550" tIns="61550" rIns="61550" bIns="30775" anchor="t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55"/>
                  <a:buFont typeface="Arial"/>
                  <a:buNone/>
                  <a:tabLst/>
                  <a:defRPr/>
                </a:pPr>
                <a:endParaRPr kumimoji="0" sz="855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Google Shape;4243;p60">
                <a:extLst>
                  <a:ext uri="{FF2B5EF4-FFF2-40B4-BE49-F238E27FC236}">
                    <a16:creationId xmlns:a16="http://schemas.microsoft.com/office/drawing/2014/main" id="{6F207327-EC55-E8F6-98EF-930B4CF7E7C6}"/>
                  </a:ext>
                </a:extLst>
              </p:cNvPr>
              <p:cNvSpPr txBox="1"/>
              <p:nvPr/>
            </p:nvSpPr>
            <p:spPr>
              <a:xfrm>
                <a:off x="600077" y="4550355"/>
                <a:ext cx="4935716" cy="576724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246250" tIns="30775" rIns="61550" bIns="30775" anchor="ctr" anchorCtr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1400">
                    <a:solidFill>
                      <a:schemeClr val="bg1"/>
                    </a:solidFill>
                    <a:latin typeface="EYInterstate Light" panose="02000506000000020004" pitchFamily="2" charset="0"/>
                  </a:rPr>
                  <a:t>Adjusted ARR &amp; MRR Toggle</a:t>
                </a:r>
              </a:p>
            </p:txBody>
          </p:sp>
          <p:sp>
            <p:nvSpPr>
              <p:cNvPr id="46" name="Google Shape;4253;p60">
                <a:extLst>
                  <a:ext uri="{FF2B5EF4-FFF2-40B4-BE49-F238E27FC236}">
                    <a16:creationId xmlns:a16="http://schemas.microsoft.com/office/drawing/2014/main" id="{57199691-06F5-9447-6CA7-E97D058DE7C7}"/>
                  </a:ext>
                </a:extLst>
              </p:cNvPr>
              <p:cNvSpPr/>
              <p:nvPr/>
            </p:nvSpPr>
            <p:spPr>
              <a:xfrm>
                <a:off x="442913" y="4678497"/>
                <a:ext cx="320438" cy="320438"/>
              </a:xfrm>
              <a:prstGeom prst="ellipse">
                <a:avLst/>
              </a:prstGeom>
              <a:solidFill>
                <a:schemeClr val="tx2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kumimoji="0" lang="en-GB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464646"/>
                    </a:solidFill>
                    <a:effectLst/>
                    <a:uLnTx/>
                    <a:uFillTx/>
                    <a:ea typeface="Arial"/>
                    <a:cs typeface="Arial"/>
                    <a:sym typeface="Arial"/>
                  </a:rPr>
                  <a:t>5</a:t>
                </a: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7" name="Google Shape;4259;p60">
              <a:extLst>
                <a:ext uri="{FF2B5EF4-FFF2-40B4-BE49-F238E27FC236}">
                  <a16:creationId xmlns:a16="http://schemas.microsoft.com/office/drawing/2014/main" id="{35D658AA-A540-8BF5-3E77-5AE154F2C494}"/>
                </a:ext>
              </a:extLst>
            </p:cNvPr>
            <p:cNvSpPr/>
            <p:nvPr/>
          </p:nvSpPr>
          <p:spPr>
            <a:xfrm>
              <a:off x="8437328" y="1461479"/>
              <a:ext cx="216027" cy="208727"/>
            </a:xfrm>
            <a:custGeom>
              <a:avLst/>
              <a:gdLst/>
              <a:ahLst/>
              <a:cxnLst/>
              <a:rect l="l" t="t" r="r" b="b"/>
              <a:pathLst>
                <a:path w="15756" h="16364" extrusionOk="0">
                  <a:moveTo>
                    <a:pt x="15756" y="439"/>
                  </a:moveTo>
                  <a:lnTo>
                    <a:pt x="15557" y="659"/>
                  </a:lnTo>
                  <a:lnTo>
                    <a:pt x="15359" y="881"/>
                  </a:lnTo>
                  <a:lnTo>
                    <a:pt x="15163" y="1101"/>
                  </a:lnTo>
                  <a:lnTo>
                    <a:pt x="14967" y="1322"/>
                  </a:lnTo>
                  <a:lnTo>
                    <a:pt x="14772" y="1543"/>
                  </a:lnTo>
                  <a:lnTo>
                    <a:pt x="14579" y="1764"/>
                  </a:lnTo>
                  <a:lnTo>
                    <a:pt x="14387" y="1985"/>
                  </a:lnTo>
                  <a:lnTo>
                    <a:pt x="14196" y="2207"/>
                  </a:lnTo>
                  <a:lnTo>
                    <a:pt x="14005" y="2427"/>
                  </a:lnTo>
                  <a:lnTo>
                    <a:pt x="13816" y="2649"/>
                  </a:lnTo>
                  <a:lnTo>
                    <a:pt x="13627" y="2870"/>
                  </a:lnTo>
                  <a:lnTo>
                    <a:pt x="13440" y="3091"/>
                  </a:lnTo>
                  <a:lnTo>
                    <a:pt x="13253" y="3313"/>
                  </a:lnTo>
                  <a:lnTo>
                    <a:pt x="13069" y="3535"/>
                  </a:lnTo>
                  <a:lnTo>
                    <a:pt x="12885" y="3756"/>
                  </a:lnTo>
                  <a:lnTo>
                    <a:pt x="12701" y="3978"/>
                  </a:lnTo>
                  <a:lnTo>
                    <a:pt x="12519" y="4199"/>
                  </a:lnTo>
                  <a:lnTo>
                    <a:pt x="12338" y="4421"/>
                  </a:lnTo>
                  <a:lnTo>
                    <a:pt x="12158" y="4643"/>
                  </a:lnTo>
                  <a:lnTo>
                    <a:pt x="11979" y="4865"/>
                  </a:lnTo>
                  <a:lnTo>
                    <a:pt x="11801" y="5088"/>
                  </a:lnTo>
                  <a:lnTo>
                    <a:pt x="11624" y="5309"/>
                  </a:lnTo>
                  <a:lnTo>
                    <a:pt x="11448" y="5531"/>
                  </a:lnTo>
                  <a:lnTo>
                    <a:pt x="11273" y="5754"/>
                  </a:lnTo>
                  <a:lnTo>
                    <a:pt x="11099" y="5976"/>
                  </a:lnTo>
                  <a:lnTo>
                    <a:pt x="10927" y="6198"/>
                  </a:lnTo>
                  <a:lnTo>
                    <a:pt x="10754" y="6422"/>
                  </a:lnTo>
                  <a:lnTo>
                    <a:pt x="10583" y="6644"/>
                  </a:lnTo>
                  <a:lnTo>
                    <a:pt x="10413" y="6867"/>
                  </a:lnTo>
                  <a:lnTo>
                    <a:pt x="10244" y="7090"/>
                  </a:lnTo>
                  <a:lnTo>
                    <a:pt x="10076" y="7312"/>
                  </a:lnTo>
                  <a:lnTo>
                    <a:pt x="9911" y="7536"/>
                  </a:lnTo>
                  <a:lnTo>
                    <a:pt x="9745" y="7758"/>
                  </a:lnTo>
                  <a:lnTo>
                    <a:pt x="9580" y="7981"/>
                  </a:lnTo>
                  <a:lnTo>
                    <a:pt x="9417" y="8202"/>
                  </a:lnTo>
                  <a:lnTo>
                    <a:pt x="9255" y="8423"/>
                  </a:lnTo>
                  <a:lnTo>
                    <a:pt x="9095" y="8644"/>
                  </a:lnTo>
                  <a:lnTo>
                    <a:pt x="8936" y="8864"/>
                  </a:lnTo>
                  <a:lnTo>
                    <a:pt x="8779" y="9084"/>
                  </a:lnTo>
                  <a:lnTo>
                    <a:pt x="8623" y="9304"/>
                  </a:lnTo>
                  <a:lnTo>
                    <a:pt x="8468" y="9522"/>
                  </a:lnTo>
                  <a:lnTo>
                    <a:pt x="8316" y="9740"/>
                  </a:lnTo>
                  <a:lnTo>
                    <a:pt x="8164" y="9959"/>
                  </a:lnTo>
                  <a:lnTo>
                    <a:pt x="8015" y="10176"/>
                  </a:lnTo>
                  <a:lnTo>
                    <a:pt x="7865" y="10393"/>
                  </a:lnTo>
                  <a:lnTo>
                    <a:pt x="7719" y="10609"/>
                  </a:lnTo>
                  <a:lnTo>
                    <a:pt x="7572" y="10826"/>
                  </a:lnTo>
                  <a:lnTo>
                    <a:pt x="7428" y="11041"/>
                  </a:lnTo>
                  <a:lnTo>
                    <a:pt x="7285" y="11256"/>
                  </a:lnTo>
                  <a:lnTo>
                    <a:pt x="7144" y="11471"/>
                  </a:lnTo>
                  <a:lnTo>
                    <a:pt x="7004" y="11685"/>
                  </a:lnTo>
                  <a:lnTo>
                    <a:pt x="6865" y="11898"/>
                  </a:lnTo>
                  <a:lnTo>
                    <a:pt x="6727" y="12113"/>
                  </a:lnTo>
                  <a:lnTo>
                    <a:pt x="6592" y="12325"/>
                  </a:lnTo>
                  <a:lnTo>
                    <a:pt x="6458" y="12538"/>
                  </a:lnTo>
                  <a:lnTo>
                    <a:pt x="6325" y="12749"/>
                  </a:lnTo>
                  <a:lnTo>
                    <a:pt x="6193" y="12961"/>
                  </a:lnTo>
                  <a:lnTo>
                    <a:pt x="6063" y="13172"/>
                  </a:lnTo>
                  <a:lnTo>
                    <a:pt x="5935" y="13382"/>
                  </a:lnTo>
                  <a:lnTo>
                    <a:pt x="5808" y="13593"/>
                  </a:lnTo>
                  <a:lnTo>
                    <a:pt x="5682" y="13803"/>
                  </a:lnTo>
                  <a:lnTo>
                    <a:pt x="5558" y="14012"/>
                  </a:lnTo>
                  <a:lnTo>
                    <a:pt x="5435" y="14221"/>
                  </a:lnTo>
                  <a:lnTo>
                    <a:pt x="5313" y="14429"/>
                  </a:lnTo>
                  <a:lnTo>
                    <a:pt x="5272" y="14500"/>
                  </a:lnTo>
                  <a:lnTo>
                    <a:pt x="5229" y="14578"/>
                  </a:lnTo>
                  <a:lnTo>
                    <a:pt x="5184" y="14660"/>
                  </a:lnTo>
                  <a:lnTo>
                    <a:pt x="5136" y="14746"/>
                  </a:lnTo>
                  <a:lnTo>
                    <a:pt x="5087" y="14839"/>
                  </a:lnTo>
                  <a:lnTo>
                    <a:pt x="5034" y="14935"/>
                  </a:lnTo>
                  <a:lnTo>
                    <a:pt x="4981" y="15037"/>
                  </a:lnTo>
                  <a:lnTo>
                    <a:pt x="4926" y="15144"/>
                  </a:lnTo>
                  <a:lnTo>
                    <a:pt x="4884" y="15219"/>
                  </a:lnTo>
                  <a:lnTo>
                    <a:pt x="4840" y="15292"/>
                  </a:lnTo>
                  <a:lnTo>
                    <a:pt x="4795" y="15362"/>
                  </a:lnTo>
                  <a:lnTo>
                    <a:pt x="4748" y="15430"/>
                  </a:lnTo>
                  <a:lnTo>
                    <a:pt x="4699" y="15496"/>
                  </a:lnTo>
                  <a:lnTo>
                    <a:pt x="4649" y="15559"/>
                  </a:lnTo>
                  <a:lnTo>
                    <a:pt x="4597" y="15620"/>
                  </a:lnTo>
                  <a:lnTo>
                    <a:pt x="4544" y="15678"/>
                  </a:lnTo>
                  <a:lnTo>
                    <a:pt x="4488" y="15734"/>
                  </a:lnTo>
                  <a:lnTo>
                    <a:pt x="4432" y="15788"/>
                  </a:lnTo>
                  <a:lnTo>
                    <a:pt x="4374" y="15839"/>
                  </a:lnTo>
                  <a:lnTo>
                    <a:pt x="4314" y="15888"/>
                  </a:lnTo>
                  <a:lnTo>
                    <a:pt x="4253" y="15934"/>
                  </a:lnTo>
                  <a:lnTo>
                    <a:pt x="4189" y="15978"/>
                  </a:lnTo>
                  <a:lnTo>
                    <a:pt x="4125" y="16020"/>
                  </a:lnTo>
                  <a:lnTo>
                    <a:pt x="4058" y="16059"/>
                  </a:lnTo>
                  <a:lnTo>
                    <a:pt x="3991" y="16096"/>
                  </a:lnTo>
                  <a:lnTo>
                    <a:pt x="3921" y="16131"/>
                  </a:lnTo>
                  <a:lnTo>
                    <a:pt x="3850" y="16163"/>
                  </a:lnTo>
                  <a:lnTo>
                    <a:pt x="3778" y="16192"/>
                  </a:lnTo>
                  <a:lnTo>
                    <a:pt x="3703" y="16220"/>
                  </a:lnTo>
                  <a:lnTo>
                    <a:pt x="3627" y="16245"/>
                  </a:lnTo>
                  <a:lnTo>
                    <a:pt x="3550" y="16267"/>
                  </a:lnTo>
                  <a:lnTo>
                    <a:pt x="3471" y="16288"/>
                  </a:lnTo>
                  <a:lnTo>
                    <a:pt x="3390" y="16305"/>
                  </a:lnTo>
                  <a:lnTo>
                    <a:pt x="3308" y="16321"/>
                  </a:lnTo>
                  <a:lnTo>
                    <a:pt x="3225" y="16334"/>
                  </a:lnTo>
                  <a:lnTo>
                    <a:pt x="3139" y="16344"/>
                  </a:lnTo>
                  <a:lnTo>
                    <a:pt x="3051" y="16353"/>
                  </a:lnTo>
                  <a:lnTo>
                    <a:pt x="2962" y="16358"/>
                  </a:lnTo>
                  <a:lnTo>
                    <a:pt x="2872" y="16363"/>
                  </a:lnTo>
                  <a:lnTo>
                    <a:pt x="2781" y="16364"/>
                  </a:lnTo>
                  <a:lnTo>
                    <a:pt x="2697" y="16364"/>
                  </a:lnTo>
                  <a:lnTo>
                    <a:pt x="2616" y="16362"/>
                  </a:lnTo>
                  <a:lnTo>
                    <a:pt x="2540" y="16360"/>
                  </a:lnTo>
                  <a:lnTo>
                    <a:pt x="2467" y="16356"/>
                  </a:lnTo>
                  <a:lnTo>
                    <a:pt x="2397" y="16351"/>
                  </a:lnTo>
                  <a:lnTo>
                    <a:pt x="2330" y="16346"/>
                  </a:lnTo>
                  <a:lnTo>
                    <a:pt x="2268" y="16340"/>
                  </a:lnTo>
                  <a:lnTo>
                    <a:pt x="2209" y="16333"/>
                  </a:lnTo>
                  <a:lnTo>
                    <a:pt x="2153" y="16325"/>
                  </a:lnTo>
                  <a:lnTo>
                    <a:pt x="2101" y="16315"/>
                  </a:lnTo>
                  <a:lnTo>
                    <a:pt x="2052" y="16305"/>
                  </a:lnTo>
                  <a:lnTo>
                    <a:pt x="2007" y="16294"/>
                  </a:lnTo>
                  <a:lnTo>
                    <a:pt x="1965" y="16282"/>
                  </a:lnTo>
                  <a:lnTo>
                    <a:pt x="1927" y="16269"/>
                  </a:lnTo>
                  <a:lnTo>
                    <a:pt x="1909" y="16262"/>
                  </a:lnTo>
                  <a:lnTo>
                    <a:pt x="1892" y="16255"/>
                  </a:lnTo>
                  <a:lnTo>
                    <a:pt x="1877" y="16247"/>
                  </a:lnTo>
                  <a:lnTo>
                    <a:pt x="1861" y="16240"/>
                  </a:lnTo>
                  <a:lnTo>
                    <a:pt x="1846" y="16231"/>
                  </a:lnTo>
                  <a:lnTo>
                    <a:pt x="1832" y="16223"/>
                  </a:lnTo>
                  <a:lnTo>
                    <a:pt x="1817" y="16214"/>
                  </a:lnTo>
                  <a:lnTo>
                    <a:pt x="1802" y="16204"/>
                  </a:lnTo>
                  <a:lnTo>
                    <a:pt x="1788" y="16193"/>
                  </a:lnTo>
                  <a:lnTo>
                    <a:pt x="1772" y="16181"/>
                  </a:lnTo>
                  <a:lnTo>
                    <a:pt x="1758" y="16170"/>
                  </a:lnTo>
                  <a:lnTo>
                    <a:pt x="1743" y="16157"/>
                  </a:lnTo>
                  <a:lnTo>
                    <a:pt x="1728" y="16143"/>
                  </a:lnTo>
                  <a:lnTo>
                    <a:pt x="1713" y="16129"/>
                  </a:lnTo>
                  <a:lnTo>
                    <a:pt x="1697" y="16114"/>
                  </a:lnTo>
                  <a:lnTo>
                    <a:pt x="1683" y="16098"/>
                  </a:lnTo>
                  <a:lnTo>
                    <a:pt x="1653" y="16065"/>
                  </a:lnTo>
                  <a:lnTo>
                    <a:pt x="1623" y="16028"/>
                  </a:lnTo>
                  <a:lnTo>
                    <a:pt x="1593" y="15990"/>
                  </a:lnTo>
                  <a:lnTo>
                    <a:pt x="1562" y="15948"/>
                  </a:lnTo>
                  <a:lnTo>
                    <a:pt x="1533" y="15903"/>
                  </a:lnTo>
                  <a:lnTo>
                    <a:pt x="1502" y="15855"/>
                  </a:lnTo>
                  <a:lnTo>
                    <a:pt x="1471" y="15805"/>
                  </a:lnTo>
                  <a:lnTo>
                    <a:pt x="1441" y="15752"/>
                  </a:lnTo>
                  <a:lnTo>
                    <a:pt x="1411" y="15696"/>
                  </a:lnTo>
                  <a:lnTo>
                    <a:pt x="1380" y="15637"/>
                  </a:lnTo>
                  <a:lnTo>
                    <a:pt x="1344" y="15566"/>
                  </a:lnTo>
                  <a:lnTo>
                    <a:pt x="1309" y="15495"/>
                  </a:lnTo>
                  <a:lnTo>
                    <a:pt x="1274" y="15422"/>
                  </a:lnTo>
                  <a:lnTo>
                    <a:pt x="1240" y="15349"/>
                  </a:lnTo>
                  <a:lnTo>
                    <a:pt x="1206" y="15275"/>
                  </a:lnTo>
                  <a:lnTo>
                    <a:pt x="1172" y="15200"/>
                  </a:lnTo>
                  <a:lnTo>
                    <a:pt x="1139" y="15126"/>
                  </a:lnTo>
                  <a:lnTo>
                    <a:pt x="1105" y="15051"/>
                  </a:lnTo>
                  <a:lnTo>
                    <a:pt x="1073" y="14974"/>
                  </a:lnTo>
                  <a:lnTo>
                    <a:pt x="1041" y="14898"/>
                  </a:lnTo>
                  <a:lnTo>
                    <a:pt x="1008" y="14820"/>
                  </a:lnTo>
                  <a:lnTo>
                    <a:pt x="976" y="14742"/>
                  </a:lnTo>
                  <a:lnTo>
                    <a:pt x="946" y="14663"/>
                  </a:lnTo>
                  <a:lnTo>
                    <a:pt x="914" y="14585"/>
                  </a:lnTo>
                  <a:lnTo>
                    <a:pt x="883" y="14505"/>
                  </a:lnTo>
                  <a:lnTo>
                    <a:pt x="853" y="14424"/>
                  </a:lnTo>
                  <a:lnTo>
                    <a:pt x="823" y="14343"/>
                  </a:lnTo>
                  <a:lnTo>
                    <a:pt x="793" y="14262"/>
                  </a:lnTo>
                  <a:lnTo>
                    <a:pt x="763" y="14179"/>
                  </a:lnTo>
                  <a:lnTo>
                    <a:pt x="734" y="14096"/>
                  </a:lnTo>
                  <a:lnTo>
                    <a:pt x="676" y="13929"/>
                  </a:lnTo>
                  <a:lnTo>
                    <a:pt x="620" y="13759"/>
                  </a:lnTo>
                  <a:lnTo>
                    <a:pt x="565" y="13585"/>
                  </a:lnTo>
                  <a:lnTo>
                    <a:pt x="510" y="13410"/>
                  </a:lnTo>
                  <a:lnTo>
                    <a:pt x="457" y="13233"/>
                  </a:lnTo>
                  <a:lnTo>
                    <a:pt x="405" y="13052"/>
                  </a:lnTo>
                  <a:lnTo>
                    <a:pt x="356" y="12875"/>
                  </a:lnTo>
                  <a:lnTo>
                    <a:pt x="311" y="12704"/>
                  </a:lnTo>
                  <a:lnTo>
                    <a:pt x="268" y="12540"/>
                  </a:lnTo>
                  <a:lnTo>
                    <a:pt x="228" y="12383"/>
                  </a:lnTo>
                  <a:lnTo>
                    <a:pt x="192" y="12233"/>
                  </a:lnTo>
                  <a:lnTo>
                    <a:pt x="158" y="12088"/>
                  </a:lnTo>
                  <a:lnTo>
                    <a:pt x="128" y="11951"/>
                  </a:lnTo>
                  <a:lnTo>
                    <a:pt x="102" y="11821"/>
                  </a:lnTo>
                  <a:lnTo>
                    <a:pt x="78" y="11697"/>
                  </a:lnTo>
                  <a:lnTo>
                    <a:pt x="58" y="11579"/>
                  </a:lnTo>
                  <a:lnTo>
                    <a:pt x="49" y="11522"/>
                  </a:lnTo>
                  <a:lnTo>
                    <a:pt x="40" y="11468"/>
                  </a:lnTo>
                  <a:lnTo>
                    <a:pt x="32" y="11416"/>
                  </a:lnTo>
                  <a:lnTo>
                    <a:pt x="26" y="11365"/>
                  </a:lnTo>
                  <a:lnTo>
                    <a:pt x="20" y="11314"/>
                  </a:lnTo>
                  <a:lnTo>
                    <a:pt x="15" y="11267"/>
                  </a:lnTo>
                  <a:lnTo>
                    <a:pt x="11" y="11221"/>
                  </a:lnTo>
                  <a:lnTo>
                    <a:pt x="7" y="11176"/>
                  </a:lnTo>
                  <a:lnTo>
                    <a:pt x="3" y="11134"/>
                  </a:lnTo>
                  <a:lnTo>
                    <a:pt x="2" y="11092"/>
                  </a:lnTo>
                  <a:lnTo>
                    <a:pt x="0" y="11053"/>
                  </a:lnTo>
                  <a:lnTo>
                    <a:pt x="0" y="11015"/>
                  </a:lnTo>
                  <a:lnTo>
                    <a:pt x="0" y="10976"/>
                  </a:lnTo>
                  <a:lnTo>
                    <a:pt x="2" y="10938"/>
                  </a:lnTo>
                  <a:lnTo>
                    <a:pt x="4" y="10900"/>
                  </a:lnTo>
                  <a:lnTo>
                    <a:pt x="8" y="10864"/>
                  </a:lnTo>
                  <a:lnTo>
                    <a:pt x="11" y="10830"/>
                  </a:lnTo>
                  <a:lnTo>
                    <a:pt x="16" y="10796"/>
                  </a:lnTo>
                  <a:lnTo>
                    <a:pt x="21" y="10763"/>
                  </a:lnTo>
                  <a:lnTo>
                    <a:pt x="27" y="10731"/>
                  </a:lnTo>
                  <a:lnTo>
                    <a:pt x="34" y="10700"/>
                  </a:lnTo>
                  <a:lnTo>
                    <a:pt x="42" y="10671"/>
                  </a:lnTo>
                  <a:lnTo>
                    <a:pt x="51" y="10642"/>
                  </a:lnTo>
                  <a:lnTo>
                    <a:pt x="61" y="10614"/>
                  </a:lnTo>
                  <a:lnTo>
                    <a:pt x="71" y="10588"/>
                  </a:lnTo>
                  <a:lnTo>
                    <a:pt x="81" y="10562"/>
                  </a:lnTo>
                  <a:lnTo>
                    <a:pt x="94" y="10539"/>
                  </a:lnTo>
                  <a:lnTo>
                    <a:pt x="106" y="10515"/>
                  </a:lnTo>
                  <a:lnTo>
                    <a:pt x="120" y="10492"/>
                  </a:lnTo>
                  <a:lnTo>
                    <a:pt x="137" y="10469"/>
                  </a:lnTo>
                  <a:lnTo>
                    <a:pt x="155" y="10445"/>
                  </a:lnTo>
                  <a:lnTo>
                    <a:pt x="175" y="10421"/>
                  </a:lnTo>
                  <a:lnTo>
                    <a:pt x="196" y="10397"/>
                  </a:lnTo>
                  <a:lnTo>
                    <a:pt x="219" y="10372"/>
                  </a:lnTo>
                  <a:lnTo>
                    <a:pt x="244" y="10346"/>
                  </a:lnTo>
                  <a:lnTo>
                    <a:pt x="271" y="10320"/>
                  </a:lnTo>
                  <a:lnTo>
                    <a:pt x="298" y="10295"/>
                  </a:lnTo>
                  <a:lnTo>
                    <a:pt x="328" y="10268"/>
                  </a:lnTo>
                  <a:lnTo>
                    <a:pt x="360" y="10240"/>
                  </a:lnTo>
                  <a:lnTo>
                    <a:pt x="394" y="10213"/>
                  </a:lnTo>
                  <a:lnTo>
                    <a:pt x="429" y="10185"/>
                  </a:lnTo>
                  <a:lnTo>
                    <a:pt x="465" y="10156"/>
                  </a:lnTo>
                  <a:lnTo>
                    <a:pt x="504" y="10128"/>
                  </a:lnTo>
                  <a:lnTo>
                    <a:pt x="544" y="10099"/>
                  </a:lnTo>
                  <a:lnTo>
                    <a:pt x="596" y="10063"/>
                  </a:lnTo>
                  <a:lnTo>
                    <a:pt x="651" y="10028"/>
                  </a:lnTo>
                  <a:lnTo>
                    <a:pt x="705" y="9993"/>
                  </a:lnTo>
                  <a:lnTo>
                    <a:pt x="760" y="9960"/>
                  </a:lnTo>
                  <a:lnTo>
                    <a:pt x="816" y="9927"/>
                  </a:lnTo>
                  <a:lnTo>
                    <a:pt x="873" y="9895"/>
                  </a:lnTo>
                  <a:lnTo>
                    <a:pt x="930" y="9864"/>
                  </a:lnTo>
                  <a:lnTo>
                    <a:pt x="989" y="9833"/>
                  </a:lnTo>
                  <a:lnTo>
                    <a:pt x="1047" y="9804"/>
                  </a:lnTo>
                  <a:lnTo>
                    <a:pt x="1107" y="9775"/>
                  </a:lnTo>
                  <a:lnTo>
                    <a:pt x="1167" y="9747"/>
                  </a:lnTo>
                  <a:lnTo>
                    <a:pt x="1228" y="9721"/>
                  </a:lnTo>
                  <a:lnTo>
                    <a:pt x="1291" y="9694"/>
                  </a:lnTo>
                  <a:lnTo>
                    <a:pt x="1353" y="9669"/>
                  </a:lnTo>
                  <a:lnTo>
                    <a:pt x="1417" y="9644"/>
                  </a:lnTo>
                  <a:lnTo>
                    <a:pt x="1481" y="9620"/>
                  </a:lnTo>
                  <a:lnTo>
                    <a:pt x="1546" y="9598"/>
                  </a:lnTo>
                  <a:lnTo>
                    <a:pt x="1608" y="9577"/>
                  </a:lnTo>
                  <a:lnTo>
                    <a:pt x="1670" y="9557"/>
                  </a:lnTo>
                  <a:lnTo>
                    <a:pt x="1730" y="9539"/>
                  </a:lnTo>
                  <a:lnTo>
                    <a:pt x="1789" y="9522"/>
                  </a:lnTo>
                  <a:lnTo>
                    <a:pt x="1847" y="9507"/>
                  </a:lnTo>
                  <a:lnTo>
                    <a:pt x="1904" y="9493"/>
                  </a:lnTo>
                  <a:lnTo>
                    <a:pt x="1960" y="9481"/>
                  </a:lnTo>
                  <a:lnTo>
                    <a:pt x="2014" y="9470"/>
                  </a:lnTo>
                  <a:lnTo>
                    <a:pt x="2067" y="9460"/>
                  </a:lnTo>
                  <a:lnTo>
                    <a:pt x="2119" y="9452"/>
                  </a:lnTo>
                  <a:lnTo>
                    <a:pt x="2171" y="9446"/>
                  </a:lnTo>
                  <a:lnTo>
                    <a:pt x="2220" y="9441"/>
                  </a:lnTo>
                  <a:lnTo>
                    <a:pt x="2268" y="9437"/>
                  </a:lnTo>
                  <a:lnTo>
                    <a:pt x="2315" y="9435"/>
                  </a:lnTo>
                  <a:lnTo>
                    <a:pt x="2361" y="9434"/>
                  </a:lnTo>
                  <a:lnTo>
                    <a:pt x="2380" y="9436"/>
                  </a:lnTo>
                  <a:lnTo>
                    <a:pt x="2399" y="9439"/>
                  </a:lnTo>
                  <a:lnTo>
                    <a:pt x="2419" y="9444"/>
                  </a:lnTo>
                  <a:lnTo>
                    <a:pt x="2438" y="9452"/>
                  </a:lnTo>
                  <a:lnTo>
                    <a:pt x="2458" y="9463"/>
                  </a:lnTo>
                  <a:lnTo>
                    <a:pt x="2478" y="9475"/>
                  </a:lnTo>
                  <a:lnTo>
                    <a:pt x="2498" y="9489"/>
                  </a:lnTo>
                  <a:lnTo>
                    <a:pt x="2519" y="9507"/>
                  </a:lnTo>
                  <a:lnTo>
                    <a:pt x="2540" y="9525"/>
                  </a:lnTo>
                  <a:lnTo>
                    <a:pt x="2561" y="9547"/>
                  </a:lnTo>
                  <a:lnTo>
                    <a:pt x="2582" y="9570"/>
                  </a:lnTo>
                  <a:lnTo>
                    <a:pt x="2604" y="9597"/>
                  </a:lnTo>
                  <a:lnTo>
                    <a:pt x="2626" y="9624"/>
                  </a:lnTo>
                  <a:lnTo>
                    <a:pt x="2648" y="9655"/>
                  </a:lnTo>
                  <a:lnTo>
                    <a:pt x="2670" y="9687"/>
                  </a:lnTo>
                  <a:lnTo>
                    <a:pt x="2693" y="9722"/>
                  </a:lnTo>
                  <a:lnTo>
                    <a:pt x="2716" y="9760"/>
                  </a:lnTo>
                  <a:lnTo>
                    <a:pt x="2739" y="9799"/>
                  </a:lnTo>
                  <a:lnTo>
                    <a:pt x="2763" y="9841"/>
                  </a:lnTo>
                  <a:lnTo>
                    <a:pt x="2786" y="9885"/>
                  </a:lnTo>
                  <a:lnTo>
                    <a:pt x="2810" y="9931"/>
                  </a:lnTo>
                  <a:lnTo>
                    <a:pt x="2834" y="9979"/>
                  </a:lnTo>
                  <a:lnTo>
                    <a:pt x="2859" y="10030"/>
                  </a:lnTo>
                  <a:lnTo>
                    <a:pt x="2883" y="10083"/>
                  </a:lnTo>
                  <a:lnTo>
                    <a:pt x="2908" y="10138"/>
                  </a:lnTo>
                  <a:lnTo>
                    <a:pt x="2934" y="10195"/>
                  </a:lnTo>
                  <a:lnTo>
                    <a:pt x="2959" y="10256"/>
                  </a:lnTo>
                  <a:lnTo>
                    <a:pt x="2985" y="10317"/>
                  </a:lnTo>
                  <a:lnTo>
                    <a:pt x="3010" y="10382"/>
                  </a:lnTo>
                  <a:lnTo>
                    <a:pt x="3037" y="10448"/>
                  </a:lnTo>
                  <a:lnTo>
                    <a:pt x="3064" y="10517"/>
                  </a:lnTo>
                  <a:lnTo>
                    <a:pt x="3090" y="10588"/>
                  </a:lnTo>
                  <a:lnTo>
                    <a:pt x="3101" y="10616"/>
                  </a:lnTo>
                  <a:lnTo>
                    <a:pt x="3109" y="10643"/>
                  </a:lnTo>
                  <a:lnTo>
                    <a:pt x="3118" y="10668"/>
                  </a:lnTo>
                  <a:lnTo>
                    <a:pt x="3126" y="10690"/>
                  </a:lnTo>
                  <a:lnTo>
                    <a:pt x="3133" y="10711"/>
                  </a:lnTo>
                  <a:lnTo>
                    <a:pt x="3141" y="10728"/>
                  </a:lnTo>
                  <a:lnTo>
                    <a:pt x="3147" y="10745"/>
                  </a:lnTo>
                  <a:lnTo>
                    <a:pt x="3153" y="10760"/>
                  </a:lnTo>
                  <a:lnTo>
                    <a:pt x="3160" y="10786"/>
                  </a:lnTo>
                  <a:lnTo>
                    <a:pt x="3172" y="10819"/>
                  </a:lnTo>
                  <a:lnTo>
                    <a:pt x="3188" y="10860"/>
                  </a:lnTo>
                  <a:lnTo>
                    <a:pt x="3207" y="10910"/>
                  </a:lnTo>
                  <a:lnTo>
                    <a:pt x="3232" y="10978"/>
                  </a:lnTo>
                  <a:lnTo>
                    <a:pt x="3256" y="11044"/>
                  </a:lnTo>
                  <a:lnTo>
                    <a:pt x="3281" y="11108"/>
                  </a:lnTo>
                  <a:lnTo>
                    <a:pt x="3304" y="11170"/>
                  </a:lnTo>
                  <a:lnTo>
                    <a:pt x="3328" y="11229"/>
                  </a:lnTo>
                  <a:lnTo>
                    <a:pt x="3351" y="11288"/>
                  </a:lnTo>
                  <a:lnTo>
                    <a:pt x="3374" y="11343"/>
                  </a:lnTo>
                  <a:lnTo>
                    <a:pt x="3397" y="11396"/>
                  </a:lnTo>
                  <a:lnTo>
                    <a:pt x="3419" y="11448"/>
                  </a:lnTo>
                  <a:lnTo>
                    <a:pt x="3442" y="11496"/>
                  </a:lnTo>
                  <a:lnTo>
                    <a:pt x="3464" y="11543"/>
                  </a:lnTo>
                  <a:lnTo>
                    <a:pt x="3486" y="11587"/>
                  </a:lnTo>
                  <a:lnTo>
                    <a:pt x="3507" y="11630"/>
                  </a:lnTo>
                  <a:lnTo>
                    <a:pt x="3529" y="11670"/>
                  </a:lnTo>
                  <a:lnTo>
                    <a:pt x="3550" y="11708"/>
                  </a:lnTo>
                  <a:lnTo>
                    <a:pt x="3571" y="11744"/>
                  </a:lnTo>
                  <a:lnTo>
                    <a:pt x="3591" y="11778"/>
                  </a:lnTo>
                  <a:lnTo>
                    <a:pt x="3612" y="11809"/>
                  </a:lnTo>
                  <a:lnTo>
                    <a:pt x="3631" y="11839"/>
                  </a:lnTo>
                  <a:lnTo>
                    <a:pt x="3652" y="11866"/>
                  </a:lnTo>
                  <a:lnTo>
                    <a:pt x="3671" y="11891"/>
                  </a:lnTo>
                  <a:lnTo>
                    <a:pt x="3691" y="11914"/>
                  </a:lnTo>
                  <a:lnTo>
                    <a:pt x="3709" y="11934"/>
                  </a:lnTo>
                  <a:lnTo>
                    <a:pt x="3727" y="11953"/>
                  </a:lnTo>
                  <a:lnTo>
                    <a:pt x="3746" y="11969"/>
                  </a:lnTo>
                  <a:lnTo>
                    <a:pt x="3764" y="11984"/>
                  </a:lnTo>
                  <a:lnTo>
                    <a:pt x="3783" y="11996"/>
                  </a:lnTo>
                  <a:lnTo>
                    <a:pt x="3800" y="12005"/>
                  </a:lnTo>
                  <a:lnTo>
                    <a:pt x="3818" y="12013"/>
                  </a:lnTo>
                  <a:lnTo>
                    <a:pt x="3835" y="12018"/>
                  </a:lnTo>
                  <a:lnTo>
                    <a:pt x="3851" y="12021"/>
                  </a:lnTo>
                  <a:lnTo>
                    <a:pt x="3868" y="12022"/>
                  </a:lnTo>
                  <a:lnTo>
                    <a:pt x="3883" y="12020"/>
                  </a:lnTo>
                  <a:lnTo>
                    <a:pt x="3902" y="12013"/>
                  </a:lnTo>
                  <a:lnTo>
                    <a:pt x="3922" y="12001"/>
                  </a:lnTo>
                  <a:lnTo>
                    <a:pt x="3946" y="11984"/>
                  </a:lnTo>
                  <a:lnTo>
                    <a:pt x="3971" y="11961"/>
                  </a:lnTo>
                  <a:lnTo>
                    <a:pt x="4000" y="11934"/>
                  </a:lnTo>
                  <a:lnTo>
                    <a:pt x="4031" y="11903"/>
                  </a:lnTo>
                  <a:lnTo>
                    <a:pt x="4064" y="11866"/>
                  </a:lnTo>
                  <a:lnTo>
                    <a:pt x="4100" y="11824"/>
                  </a:lnTo>
                  <a:lnTo>
                    <a:pt x="4139" y="11777"/>
                  </a:lnTo>
                  <a:lnTo>
                    <a:pt x="4181" y="11725"/>
                  </a:lnTo>
                  <a:lnTo>
                    <a:pt x="4225" y="11669"/>
                  </a:lnTo>
                  <a:lnTo>
                    <a:pt x="4272" y="11607"/>
                  </a:lnTo>
                  <a:lnTo>
                    <a:pt x="4321" y="11541"/>
                  </a:lnTo>
                  <a:lnTo>
                    <a:pt x="4374" y="11469"/>
                  </a:lnTo>
                  <a:lnTo>
                    <a:pt x="4429" y="11393"/>
                  </a:lnTo>
                  <a:lnTo>
                    <a:pt x="4485" y="11312"/>
                  </a:lnTo>
                  <a:lnTo>
                    <a:pt x="4546" y="11226"/>
                  </a:lnTo>
                  <a:lnTo>
                    <a:pt x="4608" y="11135"/>
                  </a:lnTo>
                  <a:lnTo>
                    <a:pt x="4674" y="11039"/>
                  </a:lnTo>
                  <a:lnTo>
                    <a:pt x="4741" y="10938"/>
                  </a:lnTo>
                  <a:lnTo>
                    <a:pt x="4812" y="10833"/>
                  </a:lnTo>
                  <a:lnTo>
                    <a:pt x="4885" y="10721"/>
                  </a:lnTo>
                  <a:lnTo>
                    <a:pt x="4961" y="10606"/>
                  </a:lnTo>
                  <a:lnTo>
                    <a:pt x="5119" y="10360"/>
                  </a:lnTo>
                  <a:lnTo>
                    <a:pt x="5289" y="10094"/>
                  </a:lnTo>
                  <a:lnTo>
                    <a:pt x="5469" y="9809"/>
                  </a:lnTo>
                  <a:lnTo>
                    <a:pt x="5659" y="9504"/>
                  </a:lnTo>
                  <a:lnTo>
                    <a:pt x="5856" y="9190"/>
                  </a:lnTo>
                  <a:lnTo>
                    <a:pt x="6051" y="8878"/>
                  </a:lnTo>
                  <a:lnTo>
                    <a:pt x="6248" y="8570"/>
                  </a:lnTo>
                  <a:lnTo>
                    <a:pt x="6446" y="8263"/>
                  </a:lnTo>
                  <a:lnTo>
                    <a:pt x="6643" y="7959"/>
                  </a:lnTo>
                  <a:lnTo>
                    <a:pt x="6841" y="7658"/>
                  </a:lnTo>
                  <a:lnTo>
                    <a:pt x="7040" y="7359"/>
                  </a:lnTo>
                  <a:lnTo>
                    <a:pt x="7238" y="7061"/>
                  </a:lnTo>
                  <a:lnTo>
                    <a:pt x="7437" y="6767"/>
                  </a:lnTo>
                  <a:lnTo>
                    <a:pt x="7637" y="6475"/>
                  </a:lnTo>
                  <a:lnTo>
                    <a:pt x="7837" y="6185"/>
                  </a:lnTo>
                  <a:lnTo>
                    <a:pt x="8036" y="5897"/>
                  </a:lnTo>
                  <a:lnTo>
                    <a:pt x="8237" y="5612"/>
                  </a:lnTo>
                  <a:lnTo>
                    <a:pt x="8438" y="5330"/>
                  </a:lnTo>
                  <a:lnTo>
                    <a:pt x="8639" y="5050"/>
                  </a:lnTo>
                  <a:lnTo>
                    <a:pt x="8841" y="4772"/>
                  </a:lnTo>
                  <a:lnTo>
                    <a:pt x="8981" y="4581"/>
                  </a:lnTo>
                  <a:lnTo>
                    <a:pt x="9118" y="4394"/>
                  </a:lnTo>
                  <a:lnTo>
                    <a:pt x="9254" y="4211"/>
                  </a:lnTo>
                  <a:lnTo>
                    <a:pt x="9388" y="4032"/>
                  </a:lnTo>
                  <a:lnTo>
                    <a:pt x="9520" y="3857"/>
                  </a:lnTo>
                  <a:lnTo>
                    <a:pt x="9650" y="3686"/>
                  </a:lnTo>
                  <a:lnTo>
                    <a:pt x="9778" y="3519"/>
                  </a:lnTo>
                  <a:lnTo>
                    <a:pt x="9905" y="3356"/>
                  </a:lnTo>
                  <a:lnTo>
                    <a:pt x="10030" y="3196"/>
                  </a:lnTo>
                  <a:lnTo>
                    <a:pt x="10153" y="3040"/>
                  </a:lnTo>
                  <a:lnTo>
                    <a:pt x="10275" y="2888"/>
                  </a:lnTo>
                  <a:lnTo>
                    <a:pt x="10395" y="2741"/>
                  </a:lnTo>
                  <a:lnTo>
                    <a:pt x="10513" y="2596"/>
                  </a:lnTo>
                  <a:lnTo>
                    <a:pt x="10628" y="2457"/>
                  </a:lnTo>
                  <a:lnTo>
                    <a:pt x="10743" y="2321"/>
                  </a:lnTo>
                  <a:lnTo>
                    <a:pt x="10855" y="2187"/>
                  </a:lnTo>
                  <a:lnTo>
                    <a:pt x="10964" y="2060"/>
                  </a:lnTo>
                  <a:lnTo>
                    <a:pt x="11071" y="1939"/>
                  </a:lnTo>
                  <a:lnTo>
                    <a:pt x="11172" y="1825"/>
                  </a:lnTo>
                  <a:lnTo>
                    <a:pt x="11271" y="1717"/>
                  </a:lnTo>
                  <a:lnTo>
                    <a:pt x="11365" y="1615"/>
                  </a:lnTo>
                  <a:lnTo>
                    <a:pt x="11455" y="1518"/>
                  </a:lnTo>
                  <a:lnTo>
                    <a:pt x="11541" y="1428"/>
                  </a:lnTo>
                  <a:lnTo>
                    <a:pt x="11624" y="1345"/>
                  </a:lnTo>
                  <a:lnTo>
                    <a:pt x="11702" y="1267"/>
                  </a:lnTo>
                  <a:lnTo>
                    <a:pt x="11777" y="1195"/>
                  </a:lnTo>
                  <a:lnTo>
                    <a:pt x="11812" y="1163"/>
                  </a:lnTo>
                  <a:lnTo>
                    <a:pt x="11847" y="1131"/>
                  </a:lnTo>
                  <a:lnTo>
                    <a:pt x="11882" y="1101"/>
                  </a:lnTo>
                  <a:lnTo>
                    <a:pt x="11915" y="1072"/>
                  </a:lnTo>
                  <a:lnTo>
                    <a:pt x="11947" y="1045"/>
                  </a:lnTo>
                  <a:lnTo>
                    <a:pt x="11977" y="1019"/>
                  </a:lnTo>
                  <a:lnTo>
                    <a:pt x="12008" y="996"/>
                  </a:lnTo>
                  <a:lnTo>
                    <a:pt x="12037" y="973"/>
                  </a:lnTo>
                  <a:lnTo>
                    <a:pt x="12064" y="952"/>
                  </a:lnTo>
                  <a:lnTo>
                    <a:pt x="12092" y="933"/>
                  </a:lnTo>
                  <a:lnTo>
                    <a:pt x="12118" y="915"/>
                  </a:lnTo>
                  <a:lnTo>
                    <a:pt x="12143" y="899"/>
                  </a:lnTo>
                  <a:lnTo>
                    <a:pt x="12216" y="858"/>
                  </a:lnTo>
                  <a:lnTo>
                    <a:pt x="12292" y="818"/>
                  </a:lnTo>
                  <a:lnTo>
                    <a:pt x="12371" y="778"/>
                  </a:lnTo>
                  <a:lnTo>
                    <a:pt x="12453" y="740"/>
                  </a:lnTo>
                  <a:lnTo>
                    <a:pt x="12537" y="702"/>
                  </a:lnTo>
                  <a:lnTo>
                    <a:pt x="12623" y="665"/>
                  </a:lnTo>
                  <a:lnTo>
                    <a:pt x="12713" y="629"/>
                  </a:lnTo>
                  <a:lnTo>
                    <a:pt x="12805" y="593"/>
                  </a:lnTo>
                  <a:lnTo>
                    <a:pt x="12899" y="558"/>
                  </a:lnTo>
                  <a:lnTo>
                    <a:pt x="12996" y="523"/>
                  </a:lnTo>
                  <a:lnTo>
                    <a:pt x="13097" y="489"/>
                  </a:lnTo>
                  <a:lnTo>
                    <a:pt x="13199" y="456"/>
                  </a:lnTo>
                  <a:lnTo>
                    <a:pt x="13305" y="425"/>
                  </a:lnTo>
                  <a:lnTo>
                    <a:pt x="13412" y="393"/>
                  </a:lnTo>
                  <a:lnTo>
                    <a:pt x="13523" y="362"/>
                  </a:lnTo>
                  <a:lnTo>
                    <a:pt x="13636" y="332"/>
                  </a:lnTo>
                  <a:lnTo>
                    <a:pt x="13750" y="304"/>
                  </a:lnTo>
                  <a:lnTo>
                    <a:pt x="13866" y="276"/>
                  </a:lnTo>
                  <a:lnTo>
                    <a:pt x="13984" y="249"/>
                  </a:lnTo>
                  <a:lnTo>
                    <a:pt x="14104" y="224"/>
                  </a:lnTo>
                  <a:lnTo>
                    <a:pt x="14225" y="199"/>
                  </a:lnTo>
                  <a:lnTo>
                    <a:pt x="14348" y="176"/>
                  </a:lnTo>
                  <a:lnTo>
                    <a:pt x="14473" y="154"/>
                  </a:lnTo>
                  <a:lnTo>
                    <a:pt x="14600" y="133"/>
                  </a:lnTo>
                  <a:lnTo>
                    <a:pt x="14728" y="112"/>
                  </a:lnTo>
                  <a:lnTo>
                    <a:pt x="14858" y="94"/>
                  </a:lnTo>
                  <a:lnTo>
                    <a:pt x="14989" y="75"/>
                  </a:lnTo>
                  <a:lnTo>
                    <a:pt x="15123" y="58"/>
                  </a:lnTo>
                  <a:lnTo>
                    <a:pt x="15258" y="42"/>
                  </a:lnTo>
                  <a:lnTo>
                    <a:pt x="15394" y="27"/>
                  </a:lnTo>
                  <a:lnTo>
                    <a:pt x="15532" y="14"/>
                  </a:lnTo>
                  <a:lnTo>
                    <a:pt x="15672" y="0"/>
                  </a:lnTo>
                  <a:lnTo>
                    <a:pt x="15756" y="439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  <a:tabLst/>
                <a:defRPr/>
              </a:pPr>
              <a:endParaRPr kumimoji="0" sz="1539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3A19F36-303D-6AB9-B8E1-157051447AD1}"/>
                </a:ext>
              </a:extLst>
            </p:cNvPr>
            <p:cNvGrpSpPr/>
            <p:nvPr/>
          </p:nvGrpSpPr>
          <p:grpSpPr>
            <a:xfrm>
              <a:off x="1653444" y="4776336"/>
              <a:ext cx="7543800" cy="576724"/>
              <a:chOff x="442913" y="4550355"/>
              <a:chExt cx="7543800" cy="576724"/>
            </a:xfrm>
          </p:grpSpPr>
          <p:sp>
            <p:nvSpPr>
              <p:cNvPr id="41" name="Google Shape;4242;p60">
                <a:extLst>
                  <a:ext uri="{FF2B5EF4-FFF2-40B4-BE49-F238E27FC236}">
                    <a16:creationId xmlns:a16="http://schemas.microsoft.com/office/drawing/2014/main" id="{2D4E0F1B-5ECD-1E09-3867-24A2292387DF}"/>
                  </a:ext>
                </a:extLst>
              </p:cNvPr>
              <p:cNvSpPr txBox="1"/>
              <p:nvPr/>
            </p:nvSpPr>
            <p:spPr>
              <a:xfrm>
                <a:off x="5444384" y="4678480"/>
                <a:ext cx="2542329" cy="320438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61550" tIns="61550" rIns="61550" bIns="30775" anchor="t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55"/>
                  <a:buFont typeface="Arial"/>
                  <a:buNone/>
                  <a:tabLst/>
                  <a:defRPr/>
                </a:pPr>
                <a:endParaRPr kumimoji="0" sz="855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Google Shape;4243;p60">
                <a:extLst>
                  <a:ext uri="{FF2B5EF4-FFF2-40B4-BE49-F238E27FC236}">
                    <a16:creationId xmlns:a16="http://schemas.microsoft.com/office/drawing/2014/main" id="{210DBF96-00D6-98B0-9075-465128E17E65}"/>
                  </a:ext>
                </a:extLst>
              </p:cNvPr>
              <p:cNvSpPr txBox="1"/>
              <p:nvPr/>
            </p:nvSpPr>
            <p:spPr>
              <a:xfrm>
                <a:off x="600077" y="4550355"/>
                <a:ext cx="4935716" cy="576724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246250" tIns="30775" rIns="61550" bIns="30775" anchor="ctr" anchorCtr="0">
                <a:noAutofit/>
              </a:bodyPr>
              <a:lstStyle/>
              <a:p>
                <a:pPr marL="0" lvl="1">
                  <a:buClr>
                    <a:srgbClr val="000000"/>
                  </a:buClr>
                  <a:buSzPts val="1000"/>
                  <a:defRPr/>
                </a:pPr>
                <a:r>
                  <a:rPr lang="en-US" sz="1400">
                    <a:solidFill>
                      <a:schemeClr val="bg1"/>
                    </a:solidFill>
                    <a:latin typeface="EYInterstate Light"/>
                  </a:rPr>
                  <a:t>Cross-sell / Product Penetration Insights</a:t>
                </a:r>
                <a:endParaRPr kumimoji="0" sz="140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Google Shape;4253;p60">
                <a:extLst>
                  <a:ext uri="{FF2B5EF4-FFF2-40B4-BE49-F238E27FC236}">
                    <a16:creationId xmlns:a16="http://schemas.microsoft.com/office/drawing/2014/main" id="{47FCD933-4023-B9F4-EF87-ACC7CB4415B8}"/>
                  </a:ext>
                </a:extLst>
              </p:cNvPr>
              <p:cNvSpPr/>
              <p:nvPr/>
            </p:nvSpPr>
            <p:spPr>
              <a:xfrm>
                <a:off x="442913" y="4678497"/>
                <a:ext cx="320438" cy="320438"/>
              </a:xfrm>
              <a:prstGeom prst="ellipse">
                <a:avLst/>
              </a:prstGeom>
              <a:solidFill>
                <a:schemeClr val="tx2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lang="en-GB" sz="1200" b="1" kern="0">
                    <a:solidFill>
                      <a:srgbClr val="464646"/>
                    </a:solidFill>
                    <a:ea typeface="Arial"/>
                    <a:cs typeface="Arial"/>
                    <a:sym typeface="Arial"/>
                  </a:rPr>
                  <a:t>6</a:t>
                </a: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5125AF4-E393-384B-7DE9-8E25DD42DC51}"/>
                </a:ext>
              </a:extLst>
            </p:cNvPr>
            <p:cNvGrpSpPr/>
            <p:nvPr/>
          </p:nvGrpSpPr>
          <p:grpSpPr>
            <a:xfrm>
              <a:off x="1653444" y="6173822"/>
              <a:ext cx="7543800" cy="576724"/>
              <a:chOff x="442913" y="4550355"/>
              <a:chExt cx="7543800" cy="576724"/>
            </a:xfrm>
          </p:grpSpPr>
          <p:sp>
            <p:nvSpPr>
              <p:cNvPr id="38" name="Google Shape;4242;p60">
                <a:extLst>
                  <a:ext uri="{FF2B5EF4-FFF2-40B4-BE49-F238E27FC236}">
                    <a16:creationId xmlns:a16="http://schemas.microsoft.com/office/drawing/2014/main" id="{941C3BCE-934F-516F-DE7E-23BE320BEF67}"/>
                  </a:ext>
                </a:extLst>
              </p:cNvPr>
              <p:cNvSpPr txBox="1"/>
              <p:nvPr/>
            </p:nvSpPr>
            <p:spPr>
              <a:xfrm>
                <a:off x="5444384" y="4678480"/>
                <a:ext cx="2542329" cy="320438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61550" tIns="61550" rIns="61550" bIns="30775" anchor="t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55"/>
                  <a:buFont typeface="Arial"/>
                  <a:buNone/>
                  <a:tabLst/>
                  <a:defRPr/>
                </a:pPr>
                <a:endParaRPr kumimoji="0" sz="855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4243;p60">
                <a:extLst>
                  <a:ext uri="{FF2B5EF4-FFF2-40B4-BE49-F238E27FC236}">
                    <a16:creationId xmlns:a16="http://schemas.microsoft.com/office/drawing/2014/main" id="{6E36965C-9B0F-D31E-AFB6-97BEC13DD113}"/>
                  </a:ext>
                </a:extLst>
              </p:cNvPr>
              <p:cNvSpPr txBox="1"/>
              <p:nvPr/>
            </p:nvSpPr>
            <p:spPr>
              <a:xfrm>
                <a:off x="600077" y="4550355"/>
                <a:ext cx="4935716" cy="576724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246250" tIns="30775" rIns="61550" bIns="30775" anchor="ctr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  <a:tabLst/>
                  <a:defRPr/>
                </a:pPr>
                <a:r>
                  <a:rPr kumimoji="0" lang="en-GB" sz="140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Arial"/>
                    <a:cs typeface="Arial"/>
                    <a:sym typeface="Arial"/>
                  </a:rPr>
                  <a:t>Customer Stratification by ARR</a:t>
                </a:r>
                <a:endParaRPr kumimoji="0" sz="140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4253;p60">
                <a:extLst>
                  <a:ext uri="{FF2B5EF4-FFF2-40B4-BE49-F238E27FC236}">
                    <a16:creationId xmlns:a16="http://schemas.microsoft.com/office/drawing/2014/main" id="{DF4ABA1D-915F-9843-110E-BB596B445AB9}"/>
                  </a:ext>
                </a:extLst>
              </p:cNvPr>
              <p:cNvSpPr/>
              <p:nvPr/>
            </p:nvSpPr>
            <p:spPr>
              <a:xfrm>
                <a:off x="442913" y="4678497"/>
                <a:ext cx="320438" cy="320438"/>
              </a:xfrm>
              <a:prstGeom prst="ellipse">
                <a:avLst/>
              </a:prstGeom>
              <a:solidFill>
                <a:schemeClr val="tx2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lang="en-GB" sz="1200" b="1" kern="0">
                    <a:solidFill>
                      <a:srgbClr val="464646"/>
                    </a:solidFill>
                    <a:ea typeface="Arial"/>
                    <a:cs typeface="Arial"/>
                    <a:sym typeface="Arial"/>
                  </a:rPr>
                  <a:t>8</a:t>
                </a: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E335515-761E-E215-596E-F5B7B9CAF106}"/>
                </a:ext>
              </a:extLst>
            </p:cNvPr>
            <p:cNvGrpSpPr/>
            <p:nvPr/>
          </p:nvGrpSpPr>
          <p:grpSpPr>
            <a:xfrm>
              <a:off x="1653444" y="5475097"/>
              <a:ext cx="7543800" cy="576724"/>
              <a:chOff x="442913" y="4550355"/>
              <a:chExt cx="7543800" cy="576724"/>
            </a:xfrm>
          </p:grpSpPr>
          <p:sp>
            <p:nvSpPr>
              <p:cNvPr id="35" name="Google Shape;4242;p60">
                <a:extLst>
                  <a:ext uri="{FF2B5EF4-FFF2-40B4-BE49-F238E27FC236}">
                    <a16:creationId xmlns:a16="http://schemas.microsoft.com/office/drawing/2014/main" id="{4DB4D758-BBBD-2B23-4E7A-B8D62FB27838}"/>
                  </a:ext>
                </a:extLst>
              </p:cNvPr>
              <p:cNvSpPr txBox="1"/>
              <p:nvPr/>
            </p:nvSpPr>
            <p:spPr>
              <a:xfrm>
                <a:off x="5444384" y="4678480"/>
                <a:ext cx="2542329" cy="320438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61550" tIns="61550" rIns="61550" bIns="30775" anchor="t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55"/>
                  <a:buFont typeface="Arial"/>
                  <a:buNone/>
                  <a:tabLst/>
                  <a:defRPr/>
                </a:pPr>
                <a:endParaRPr kumimoji="0" sz="855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4243;p60">
                <a:extLst>
                  <a:ext uri="{FF2B5EF4-FFF2-40B4-BE49-F238E27FC236}">
                    <a16:creationId xmlns:a16="http://schemas.microsoft.com/office/drawing/2014/main" id="{D78B88D0-5373-EFCB-79DD-71974286494F}"/>
                  </a:ext>
                </a:extLst>
              </p:cNvPr>
              <p:cNvSpPr txBox="1"/>
              <p:nvPr/>
            </p:nvSpPr>
            <p:spPr>
              <a:xfrm>
                <a:off x="600077" y="4550355"/>
                <a:ext cx="4935716" cy="576724"/>
              </a:xfrm>
              <a:prstGeom prst="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spcFirstLastPara="1" wrap="square" lIns="246250" tIns="30775" rIns="61550" bIns="30775" anchor="ctr" anchorCtr="0">
                <a:noAutofit/>
              </a:bodyPr>
              <a:lstStyle/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00"/>
                  <a:buFont typeface="Arial"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Arial"/>
                    <a:cs typeface="Arial"/>
                    <a:sym typeface="Arial"/>
                  </a:rPr>
                  <a:t>KPI Matrix</a:t>
                </a:r>
                <a:endParaRPr kumimoji="0" sz="140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4253;p60">
                <a:extLst>
                  <a:ext uri="{FF2B5EF4-FFF2-40B4-BE49-F238E27FC236}">
                    <a16:creationId xmlns:a16="http://schemas.microsoft.com/office/drawing/2014/main" id="{C1B6A1A6-BCD7-A8F9-5AB9-69E3E4CDC73C}"/>
                  </a:ext>
                </a:extLst>
              </p:cNvPr>
              <p:cNvSpPr/>
              <p:nvPr/>
            </p:nvSpPr>
            <p:spPr>
              <a:xfrm>
                <a:off x="442913" y="4678497"/>
                <a:ext cx="320438" cy="320438"/>
              </a:xfrm>
              <a:prstGeom prst="ellipse">
                <a:avLst/>
              </a:prstGeom>
              <a:solidFill>
                <a:schemeClr val="tx2"/>
              </a:solidFill>
              <a:ln w="9525" cap="flat" cmpd="sng">
                <a:solidFill>
                  <a:schemeClr val="tx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  <a:tabLst/>
                  <a:defRPr/>
                </a:pPr>
                <a:r>
                  <a:rPr lang="en-GB" sz="1200" b="1" kern="0">
                    <a:solidFill>
                      <a:srgbClr val="464646"/>
                    </a:solidFill>
                    <a:ea typeface="Arial"/>
                    <a:cs typeface="Arial"/>
                    <a:sym typeface="Arial"/>
                  </a:rPr>
                  <a:t>7</a:t>
                </a:r>
                <a:endPara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47" name="Google Shape;4259;p60">
            <a:extLst>
              <a:ext uri="{FF2B5EF4-FFF2-40B4-BE49-F238E27FC236}">
                <a16:creationId xmlns:a16="http://schemas.microsoft.com/office/drawing/2014/main" id="{6C257156-5846-FF91-64AE-8150728506F6}"/>
              </a:ext>
            </a:extLst>
          </p:cNvPr>
          <p:cNvSpPr/>
          <p:nvPr/>
        </p:nvSpPr>
        <p:spPr>
          <a:xfrm>
            <a:off x="8357889" y="2196982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8" name="Google Shape;4259;p60">
            <a:extLst>
              <a:ext uri="{FF2B5EF4-FFF2-40B4-BE49-F238E27FC236}">
                <a16:creationId xmlns:a16="http://schemas.microsoft.com/office/drawing/2014/main" id="{DBC55567-EB29-BB51-1BD3-F85FB675BE79}"/>
              </a:ext>
            </a:extLst>
          </p:cNvPr>
          <p:cNvSpPr/>
          <p:nvPr/>
        </p:nvSpPr>
        <p:spPr>
          <a:xfrm>
            <a:off x="8357889" y="2885366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9" name="Google Shape;4259;p60">
            <a:extLst>
              <a:ext uri="{FF2B5EF4-FFF2-40B4-BE49-F238E27FC236}">
                <a16:creationId xmlns:a16="http://schemas.microsoft.com/office/drawing/2014/main" id="{6D82EF7A-E93A-F52D-5DE4-E75D61508D10}"/>
              </a:ext>
            </a:extLst>
          </p:cNvPr>
          <p:cNvSpPr/>
          <p:nvPr/>
        </p:nvSpPr>
        <p:spPr>
          <a:xfrm>
            <a:off x="8361963" y="3597199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50" name="Google Shape;4259;p60">
            <a:extLst>
              <a:ext uri="{FF2B5EF4-FFF2-40B4-BE49-F238E27FC236}">
                <a16:creationId xmlns:a16="http://schemas.microsoft.com/office/drawing/2014/main" id="{05C747DA-8057-D674-DFC1-CE65BCE10E53}"/>
              </a:ext>
            </a:extLst>
          </p:cNvPr>
          <p:cNvSpPr/>
          <p:nvPr/>
        </p:nvSpPr>
        <p:spPr>
          <a:xfrm>
            <a:off x="8357889" y="4298582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51" name="Google Shape;4259;p60">
            <a:extLst>
              <a:ext uri="{FF2B5EF4-FFF2-40B4-BE49-F238E27FC236}">
                <a16:creationId xmlns:a16="http://schemas.microsoft.com/office/drawing/2014/main" id="{7947902F-B244-6AD3-70C3-AF292D2B89D1}"/>
              </a:ext>
            </a:extLst>
          </p:cNvPr>
          <p:cNvSpPr/>
          <p:nvPr/>
        </p:nvSpPr>
        <p:spPr>
          <a:xfrm>
            <a:off x="8357889" y="5022325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52" name="Google Shape;4259;p60">
            <a:extLst>
              <a:ext uri="{FF2B5EF4-FFF2-40B4-BE49-F238E27FC236}">
                <a16:creationId xmlns:a16="http://schemas.microsoft.com/office/drawing/2014/main" id="{595C4ED4-4BEC-597F-2F7C-D5F315F6CCBA}"/>
              </a:ext>
            </a:extLst>
          </p:cNvPr>
          <p:cNvSpPr/>
          <p:nvPr/>
        </p:nvSpPr>
        <p:spPr>
          <a:xfrm>
            <a:off x="8364250" y="5721086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53" name="Google Shape;4259;p60">
            <a:extLst>
              <a:ext uri="{FF2B5EF4-FFF2-40B4-BE49-F238E27FC236}">
                <a16:creationId xmlns:a16="http://schemas.microsoft.com/office/drawing/2014/main" id="{EFF49B5B-4095-B1B6-CF65-6C2B66AC2656}"/>
              </a:ext>
            </a:extLst>
          </p:cNvPr>
          <p:cNvSpPr/>
          <p:nvPr/>
        </p:nvSpPr>
        <p:spPr>
          <a:xfrm>
            <a:off x="8364250" y="6417888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56" name="Multiplication Sign 55">
            <a:extLst>
              <a:ext uri="{FF2B5EF4-FFF2-40B4-BE49-F238E27FC236}">
                <a16:creationId xmlns:a16="http://schemas.microsoft.com/office/drawing/2014/main" id="{E134D9D5-087D-9A8C-195D-7C749FFBCD51}"/>
              </a:ext>
            </a:extLst>
          </p:cNvPr>
          <p:cNvSpPr/>
          <p:nvPr/>
        </p:nvSpPr>
        <p:spPr>
          <a:xfrm>
            <a:off x="7231228" y="6306904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7" name="Multiplication Sign 56">
            <a:extLst>
              <a:ext uri="{FF2B5EF4-FFF2-40B4-BE49-F238E27FC236}">
                <a16:creationId xmlns:a16="http://schemas.microsoft.com/office/drawing/2014/main" id="{211B3F0C-8AAF-370E-4386-2DC16282D327}"/>
              </a:ext>
            </a:extLst>
          </p:cNvPr>
          <p:cNvSpPr/>
          <p:nvPr/>
        </p:nvSpPr>
        <p:spPr>
          <a:xfrm>
            <a:off x="7241373" y="4881784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8" name="Multiplication Sign 57">
            <a:extLst>
              <a:ext uri="{FF2B5EF4-FFF2-40B4-BE49-F238E27FC236}">
                <a16:creationId xmlns:a16="http://schemas.microsoft.com/office/drawing/2014/main" id="{FA035363-5F63-BA14-60D3-42C4E51690E1}"/>
              </a:ext>
            </a:extLst>
          </p:cNvPr>
          <p:cNvSpPr/>
          <p:nvPr/>
        </p:nvSpPr>
        <p:spPr>
          <a:xfrm>
            <a:off x="7245087" y="4173573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9" name="Multiplication Sign 58">
            <a:extLst>
              <a:ext uri="{FF2B5EF4-FFF2-40B4-BE49-F238E27FC236}">
                <a16:creationId xmlns:a16="http://schemas.microsoft.com/office/drawing/2014/main" id="{743D2142-A015-5900-D993-87FF7B057BCF}"/>
              </a:ext>
            </a:extLst>
          </p:cNvPr>
          <p:cNvSpPr/>
          <p:nvPr/>
        </p:nvSpPr>
        <p:spPr>
          <a:xfrm>
            <a:off x="7243230" y="3508404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0" name="Multiplication Sign 59">
            <a:extLst>
              <a:ext uri="{FF2B5EF4-FFF2-40B4-BE49-F238E27FC236}">
                <a16:creationId xmlns:a16="http://schemas.microsoft.com/office/drawing/2014/main" id="{73B9A959-B6DD-EA4E-BFF6-69469B14D64A}"/>
              </a:ext>
            </a:extLst>
          </p:cNvPr>
          <p:cNvSpPr/>
          <p:nvPr/>
        </p:nvSpPr>
        <p:spPr>
          <a:xfrm>
            <a:off x="7241373" y="2800423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5" name="Google Shape;4259;p60">
            <a:extLst>
              <a:ext uri="{FF2B5EF4-FFF2-40B4-BE49-F238E27FC236}">
                <a16:creationId xmlns:a16="http://schemas.microsoft.com/office/drawing/2014/main" id="{B6CA2E18-4F18-F602-AB63-430E95658CEB}"/>
              </a:ext>
            </a:extLst>
          </p:cNvPr>
          <p:cNvSpPr/>
          <p:nvPr/>
        </p:nvSpPr>
        <p:spPr>
          <a:xfrm>
            <a:off x="7219092" y="1523488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8" name="Google Shape;4259;p60">
            <a:extLst>
              <a:ext uri="{FF2B5EF4-FFF2-40B4-BE49-F238E27FC236}">
                <a16:creationId xmlns:a16="http://schemas.microsoft.com/office/drawing/2014/main" id="{2315456F-4EB8-1BD2-015D-121BE78B4128}"/>
              </a:ext>
            </a:extLst>
          </p:cNvPr>
          <p:cNvSpPr/>
          <p:nvPr/>
        </p:nvSpPr>
        <p:spPr>
          <a:xfrm>
            <a:off x="7216834" y="2206502"/>
            <a:ext cx="216027" cy="208727"/>
          </a:xfrm>
          <a:custGeom>
            <a:avLst/>
            <a:gdLst/>
            <a:ahLst/>
            <a:cxnLst/>
            <a:rect l="l" t="t" r="r" b="b"/>
            <a:pathLst>
              <a:path w="15756" h="16364" extrusionOk="0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39"/>
              <a:buFont typeface="Arial"/>
              <a:buNone/>
              <a:tabLst/>
              <a:defRPr/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97CAFA-05F4-62D6-1A28-3B92B333B194}"/>
              </a:ext>
            </a:extLst>
          </p:cNvPr>
          <p:cNvSpPr/>
          <p:nvPr/>
        </p:nvSpPr>
        <p:spPr>
          <a:xfrm>
            <a:off x="10691813" y="793456"/>
            <a:ext cx="2895600" cy="11992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Double check that we have everything there regarding featur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</a:rPr>
              <a:t>Make sure that the number circles are all the same color.</a:t>
            </a:r>
            <a:endParaRPr lang="en-US" sz="1000">
              <a:solidFill>
                <a:schemeClr val="bg1"/>
              </a:solidFill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  <a:cs typeface="Arial"/>
              </a:rPr>
              <a:t>What are the key accomplishments</a:t>
            </a: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4AE7C8CB-C934-FE76-A011-313096947D2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939647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C668A6B-08B0-59F2-88B0-F9BE79864B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4" name="Multiplication Sign 3">
            <a:extLst>
              <a:ext uri="{FF2B5EF4-FFF2-40B4-BE49-F238E27FC236}">
                <a16:creationId xmlns:a16="http://schemas.microsoft.com/office/drawing/2014/main" id="{3DAD8744-9B4E-8192-84DD-B8F53691C94E}"/>
              </a:ext>
            </a:extLst>
          </p:cNvPr>
          <p:cNvSpPr/>
          <p:nvPr/>
        </p:nvSpPr>
        <p:spPr>
          <a:xfrm>
            <a:off x="7218256" y="5617638"/>
            <a:ext cx="182880" cy="430696"/>
          </a:xfrm>
          <a:prstGeom prst="mathMultiply">
            <a:avLst/>
          </a:prstGeom>
          <a:solidFill>
            <a:srgbClr val="B9251C"/>
          </a:solidFill>
          <a:ln w="0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3320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260653" y="1220792"/>
            <a:ext cx="4575312" cy="601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3825">
                <a:solidFill>
                  <a:schemeClr val="tx1">
                    <a:alpha val="30000"/>
                  </a:schemeClr>
                </a:solidFill>
                <a:latin typeface="EYInterstate Light" panose="02000506000000020004" pitchFamily="2" charset="0"/>
              </a:rPr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>
                <a:solidFill>
                  <a:schemeClr val="tx1"/>
                </a:solidFill>
                <a:latin typeface="EYInterstate Light" panose="02000506000000020004" pitchFamily="2" charset="0"/>
              </a:rPr>
              <a:t>01. High-Level Updates to the Enabler</a:t>
            </a:r>
          </a:p>
        </p:txBody>
      </p:sp>
    </p:spTree>
    <p:extLst>
      <p:ext uri="{BB962C8B-B14F-4D97-AF65-F5344CB8AC3E}">
        <p14:creationId xmlns:p14="http://schemas.microsoft.com/office/powerpoint/2010/main" val="597736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500520"/>
            <a:ext cx="890538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As of YTD August '24, the TMT Enabler has demonstrated strong adoption and proven value across client engagements</a:t>
            </a:r>
            <a:endParaRPr lang="en-GB" sz="2000" b="1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C668A6B-08B0-59F2-88B0-F9BE79864B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4</a:t>
            </a:fld>
            <a:endParaRPr lang="en-GB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FC0DED2-E3E8-6E3C-41EE-A26476964678}"/>
              </a:ext>
            </a:extLst>
          </p:cNvPr>
          <p:cNvGrpSpPr/>
          <p:nvPr/>
        </p:nvGrpSpPr>
        <p:grpSpPr>
          <a:xfrm>
            <a:off x="482601" y="2129259"/>
            <a:ext cx="2998092" cy="2307994"/>
            <a:chOff x="965200" y="2032000"/>
            <a:chExt cx="3691467" cy="203706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B7D4EC4-76C8-98F0-6C52-4186A50CCAB1}"/>
                </a:ext>
              </a:extLst>
            </p:cNvPr>
            <p:cNvSpPr>
              <a:spLocks/>
            </p:cNvSpPr>
            <p:nvPr/>
          </p:nvSpPr>
          <p:spPr>
            <a:xfrm>
              <a:off x="1138839" y="2032000"/>
              <a:ext cx="3517828" cy="1938866"/>
            </a:xfrm>
            <a:prstGeom prst="rect">
              <a:avLst/>
            </a:prstGeom>
            <a:solidFill>
              <a:srgbClr val="202026">
                <a:alpha val="90000"/>
              </a:srgbClr>
            </a:solidFill>
            <a:ln w="127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7200" kern="0">
                  <a:solidFill>
                    <a:srgbClr val="FFE600"/>
                  </a:solidFill>
                </a:rPr>
                <a:t>$6m</a:t>
              </a:r>
            </a:p>
            <a:p>
              <a:pPr lvl="0">
                <a:spcAft>
                  <a:spcPts val="600"/>
                </a:spcAft>
              </a:pPr>
              <a:r>
                <a:rPr lang="en-US" sz="2000" kern="0">
                  <a:solidFill>
                    <a:schemeClr val="tx2">
                      <a:lumMod val="20000"/>
                      <a:lumOff val="80000"/>
                    </a:schemeClr>
                  </a:solidFill>
                </a:rPr>
                <a:t>Enabler supported-revenu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7B9D0D-4C51-3616-BD59-6A8CE0CF6FB2}"/>
                </a:ext>
              </a:extLst>
            </p:cNvPr>
            <p:cNvSpPr/>
            <p:nvPr/>
          </p:nvSpPr>
          <p:spPr>
            <a:xfrm>
              <a:off x="965200" y="2032000"/>
              <a:ext cx="166813" cy="193886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4BEE405-D5ED-4229-67B9-6E537956FA5C}"/>
                </a:ext>
              </a:extLst>
            </p:cNvPr>
            <p:cNvSpPr/>
            <p:nvPr/>
          </p:nvSpPr>
          <p:spPr>
            <a:xfrm rot="5400000">
              <a:off x="2741070" y="2160291"/>
              <a:ext cx="132899" cy="36846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F605CC4-A2D8-CFCA-9C59-4BB760FCAC8F}"/>
              </a:ext>
            </a:extLst>
          </p:cNvPr>
          <p:cNvGrpSpPr/>
          <p:nvPr/>
        </p:nvGrpSpPr>
        <p:grpSpPr>
          <a:xfrm>
            <a:off x="7211121" y="2129259"/>
            <a:ext cx="2998092" cy="2307994"/>
            <a:chOff x="965200" y="4652169"/>
            <a:chExt cx="3691467" cy="20370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186B001-4330-9F43-0A46-6020E81FB698}"/>
                </a:ext>
              </a:extLst>
            </p:cNvPr>
            <p:cNvSpPr>
              <a:spLocks/>
            </p:cNvSpPr>
            <p:nvPr/>
          </p:nvSpPr>
          <p:spPr>
            <a:xfrm>
              <a:off x="1138839" y="4652169"/>
              <a:ext cx="3517828" cy="1938866"/>
            </a:xfrm>
            <a:prstGeom prst="rect">
              <a:avLst/>
            </a:prstGeom>
            <a:solidFill>
              <a:srgbClr val="202026">
                <a:alpha val="90000"/>
              </a:srgbClr>
            </a:solidFill>
            <a:ln w="127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7200" kern="0">
                  <a:solidFill>
                    <a:srgbClr val="FFE600"/>
                  </a:solidFill>
                </a:rPr>
                <a:t>20%</a:t>
              </a:r>
            </a:p>
            <a:p>
              <a:pPr lvl="0">
                <a:spcAft>
                  <a:spcPts val="600"/>
                </a:spcAft>
              </a:pPr>
              <a:r>
                <a:rPr lang="en-US" sz="1600" kern="0">
                  <a:solidFill>
                    <a:schemeClr val="tx2">
                      <a:lumMod val="20000"/>
                      <a:lumOff val="80000"/>
                    </a:schemeClr>
                  </a:solidFill>
                </a:rPr>
                <a:t>Enabler utilization % </a:t>
              </a:r>
            </a:p>
            <a:p>
              <a:pPr lvl="0">
                <a:spcAft>
                  <a:spcPts val="600"/>
                </a:spcAft>
              </a:pPr>
              <a:r>
                <a:rPr lang="en-US" sz="1100" kern="0">
                  <a:solidFill>
                    <a:schemeClr val="tx2">
                      <a:lumMod val="20000"/>
                      <a:lumOff val="80000"/>
                    </a:schemeClr>
                  </a:solidFill>
                </a:rPr>
                <a:t>(out of total TMT engagements)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2555015-FD81-73A5-4BB4-EAA77955DEC3}"/>
                </a:ext>
              </a:extLst>
            </p:cNvPr>
            <p:cNvSpPr/>
            <p:nvPr/>
          </p:nvSpPr>
          <p:spPr>
            <a:xfrm>
              <a:off x="965200" y="4652169"/>
              <a:ext cx="166813" cy="193886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0435E79-A281-9DAB-FCEB-07CAD10AAC78}"/>
                </a:ext>
              </a:extLst>
            </p:cNvPr>
            <p:cNvSpPr/>
            <p:nvPr/>
          </p:nvSpPr>
          <p:spPr>
            <a:xfrm rot="5400000">
              <a:off x="2741070" y="4780460"/>
              <a:ext cx="132899" cy="36846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ACDA175-0147-5B9D-B92F-3F1BF512C763}"/>
              </a:ext>
            </a:extLst>
          </p:cNvPr>
          <p:cNvGrpSpPr/>
          <p:nvPr/>
        </p:nvGrpSpPr>
        <p:grpSpPr>
          <a:xfrm>
            <a:off x="3849633" y="2129259"/>
            <a:ext cx="2998092" cy="2307994"/>
            <a:chOff x="6041974" y="2032000"/>
            <a:chExt cx="3691467" cy="203706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A2B4169-F0DF-4AC4-7E64-A867B554AE83}"/>
                </a:ext>
              </a:extLst>
            </p:cNvPr>
            <p:cNvSpPr>
              <a:spLocks/>
            </p:cNvSpPr>
            <p:nvPr/>
          </p:nvSpPr>
          <p:spPr>
            <a:xfrm>
              <a:off x="6215613" y="2032000"/>
              <a:ext cx="3517828" cy="1938866"/>
            </a:xfrm>
            <a:prstGeom prst="rect">
              <a:avLst/>
            </a:prstGeom>
            <a:solidFill>
              <a:srgbClr val="202026">
                <a:alpha val="90000"/>
              </a:srgbClr>
            </a:solidFill>
            <a:ln w="127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7200" kern="0">
                  <a:solidFill>
                    <a:srgbClr val="FFE600"/>
                  </a:solidFill>
                </a:rPr>
                <a:t>25+</a:t>
              </a:r>
            </a:p>
            <a:p>
              <a:pPr lvl="0">
                <a:spcAft>
                  <a:spcPts val="600"/>
                </a:spcAft>
              </a:pPr>
              <a:r>
                <a:rPr lang="en-US" sz="2000" kern="0">
                  <a:solidFill>
                    <a:schemeClr val="tx2">
                      <a:lumMod val="20000"/>
                      <a:lumOff val="80000"/>
                    </a:schemeClr>
                  </a:solidFill>
                </a:rPr>
                <a:t>Deals supported by Enabler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D341B7D-0720-B673-9600-B65F07F7B5FF}"/>
                </a:ext>
              </a:extLst>
            </p:cNvPr>
            <p:cNvSpPr/>
            <p:nvPr/>
          </p:nvSpPr>
          <p:spPr>
            <a:xfrm>
              <a:off x="6041974" y="2032000"/>
              <a:ext cx="166813" cy="193886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BF5C134-0AE3-57EA-6702-B3C2DBBE5923}"/>
                </a:ext>
              </a:extLst>
            </p:cNvPr>
            <p:cNvSpPr/>
            <p:nvPr/>
          </p:nvSpPr>
          <p:spPr>
            <a:xfrm rot="5400000">
              <a:off x="7824672" y="2160291"/>
              <a:ext cx="132899" cy="368463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sz="1000">
                <a:solidFill>
                  <a:schemeClr val="bg1"/>
                </a:solidFill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C122A8C9-CA30-DF3D-DFB9-F64DE8810283}"/>
              </a:ext>
            </a:extLst>
          </p:cNvPr>
          <p:cNvSpPr txBox="1"/>
          <p:nvPr/>
        </p:nvSpPr>
        <p:spPr>
          <a:xfrm>
            <a:off x="482601" y="5693009"/>
            <a:ext cx="9707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i="1"/>
              <a:t>The initial momentum reflects a solid foundation, with the team focused on driving further adoption and continuously enhancing the TMT Enabler guided by real-time feedback</a:t>
            </a:r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D8A57FDB-0EE7-8C4C-C8A1-C3A7882CCD13}"/>
              </a:ext>
            </a:extLst>
          </p:cNvPr>
          <p:cNvSpPr/>
          <p:nvPr/>
        </p:nvSpPr>
        <p:spPr>
          <a:xfrm rot="10800000">
            <a:off x="2037953" y="4795153"/>
            <a:ext cx="6615906" cy="611189"/>
          </a:xfrm>
          <a:prstGeom prst="triangle">
            <a:avLst>
              <a:gd name="adj" fmla="val 49815"/>
            </a:avLst>
          </a:prstGeom>
          <a:solidFill>
            <a:srgbClr val="FFE6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365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04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33705" y="488710"/>
            <a:ext cx="8940495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The new Enabler release boosts team collaboration, accelerates data processing, streamlines onboarding, and adopts best-in-class solutions</a:t>
            </a:r>
            <a:endParaRPr lang="en-GB" sz="2000" b="1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17" name="Google Shape;1827;p23">
            <a:extLst>
              <a:ext uri="{FF2B5EF4-FFF2-40B4-BE49-F238E27FC236}">
                <a16:creationId xmlns:a16="http://schemas.microsoft.com/office/drawing/2014/main" id="{009F50D4-DA88-F373-BE23-99762A482E6D}"/>
              </a:ext>
            </a:extLst>
          </p:cNvPr>
          <p:cNvGrpSpPr/>
          <p:nvPr/>
        </p:nvGrpSpPr>
        <p:grpSpPr>
          <a:xfrm>
            <a:off x="392906" y="1798637"/>
            <a:ext cx="4308897" cy="4655991"/>
            <a:chOff x="6343068" y="1826802"/>
            <a:chExt cx="3865138" cy="4176487"/>
          </a:xfrm>
        </p:grpSpPr>
        <p:grpSp>
          <p:nvGrpSpPr>
            <p:cNvPr id="18" name="Google Shape;1828;p23">
              <a:extLst>
                <a:ext uri="{FF2B5EF4-FFF2-40B4-BE49-F238E27FC236}">
                  <a16:creationId xmlns:a16="http://schemas.microsoft.com/office/drawing/2014/main" id="{D37F9155-AD8E-01F4-EEBA-116CAD0091E4}"/>
                </a:ext>
              </a:extLst>
            </p:cNvPr>
            <p:cNvGrpSpPr/>
            <p:nvPr/>
          </p:nvGrpSpPr>
          <p:grpSpPr>
            <a:xfrm>
              <a:off x="6796979" y="1826802"/>
              <a:ext cx="3411227" cy="4120402"/>
              <a:chOff x="5706739" y="1692400"/>
              <a:chExt cx="4392489" cy="4818582"/>
            </a:xfrm>
          </p:grpSpPr>
          <p:sp>
            <p:nvSpPr>
              <p:cNvPr id="24" name="Google Shape;1829;p23">
                <a:extLst>
                  <a:ext uri="{FF2B5EF4-FFF2-40B4-BE49-F238E27FC236}">
                    <a16:creationId xmlns:a16="http://schemas.microsoft.com/office/drawing/2014/main" id="{5EE20A64-E30B-5110-9D5F-FF5BE7D558B8}"/>
                  </a:ext>
                </a:extLst>
              </p:cNvPr>
              <p:cNvSpPr/>
              <p:nvPr/>
            </p:nvSpPr>
            <p:spPr>
              <a:xfrm>
                <a:off x="5706741" y="2592400"/>
                <a:ext cx="4392485" cy="406193"/>
              </a:xfrm>
              <a:prstGeom prst="parallelogram">
                <a:avLst>
                  <a:gd name="adj" fmla="val 112453"/>
                </a:avLst>
              </a:prstGeom>
              <a:solidFill>
                <a:schemeClr val="tx2">
                  <a:alpha val="20000"/>
                </a:scheme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  <a:tabLst/>
                  <a:defRPr/>
                </a:pPr>
                <a:endParaRPr kumimoji="0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" name="Google Shape;1830;p23">
                <a:extLst>
                  <a:ext uri="{FF2B5EF4-FFF2-40B4-BE49-F238E27FC236}">
                    <a16:creationId xmlns:a16="http://schemas.microsoft.com/office/drawing/2014/main" id="{0B5F67D1-40D2-7AE0-8C20-BD5879694683}"/>
                  </a:ext>
                </a:extLst>
              </p:cNvPr>
              <p:cNvSpPr/>
              <p:nvPr/>
            </p:nvSpPr>
            <p:spPr>
              <a:xfrm>
                <a:off x="5706741" y="3899992"/>
                <a:ext cx="4392485" cy="406193"/>
              </a:xfrm>
              <a:prstGeom prst="parallelogram">
                <a:avLst>
                  <a:gd name="adj" fmla="val 112453"/>
                </a:avLst>
              </a:prstGeom>
              <a:solidFill>
                <a:srgbClr val="D2D2DA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  <a:tabLst/>
                  <a:defRPr/>
                </a:pPr>
                <a:endParaRPr kumimoji="0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" name="Google Shape;1831;p23">
                <a:extLst>
                  <a:ext uri="{FF2B5EF4-FFF2-40B4-BE49-F238E27FC236}">
                    <a16:creationId xmlns:a16="http://schemas.microsoft.com/office/drawing/2014/main" id="{D981800A-744C-3798-E19C-F058C1E41092}"/>
                  </a:ext>
                </a:extLst>
              </p:cNvPr>
              <p:cNvSpPr/>
              <p:nvPr/>
            </p:nvSpPr>
            <p:spPr>
              <a:xfrm>
                <a:off x="5706741" y="5207584"/>
                <a:ext cx="4392485" cy="406193"/>
              </a:xfrm>
              <a:prstGeom prst="parallelogram">
                <a:avLst>
                  <a:gd name="adj" fmla="val 112453"/>
                </a:avLst>
              </a:prstGeom>
              <a:solidFill>
                <a:srgbClr val="797991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800"/>
                  <a:buFont typeface="Arial"/>
                  <a:buNone/>
                  <a:tabLst/>
                  <a:defRPr/>
                </a:pPr>
                <a:endParaRPr kumimoji="0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Google Shape;1832;p23">
                <a:extLst>
                  <a:ext uri="{FF2B5EF4-FFF2-40B4-BE49-F238E27FC236}">
                    <a16:creationId xmlns:a16="http://schemas.microsoft.com/office/drawing/2014/main" id="{4DD0F2B7-0A1D-1B5C-3ACA-C41268F34BC6}"/>
                  </a:ext>
                </a:extLst>
              </p:cNvPr>
              <p:cNvSpPr/>
              <p:nvPr/>
            </p:nvSpPr>
            <p:spPr>
              <a:xfrm>
                <a:off x="5706741" y="1692400"/>
                <a:ext cx="4392487" cy="900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spcFirstLastPara="1" wrap="square" lIns="91425" tIns="61550" rIns="91425" bIns="61550" anchor="t" anchorCtr="0">
                <a:noAutofit/>
              </a:bodyPr>
              <a:lstStyle/>
              <a:p>
                <a:pPr algn="l"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400" b="1">
                    <a:solidFill>
                      <a:srgbClr val="2E2E38"/>
                    </a:solidFill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ncourage global collaboration</a:t>
                </a:r>
                <a:r>
                  <a:rPr lang="en-US" sz="1400">
                    <a:solidFill>
                      <a:srgbClr val="2E2E38"/>
                    </a:solidFill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round feature development vs. “rebuilding the wheel” from deal to deal</a:t>
                </a:r>
              </a:p>
            </p:txBody>
          </p:sp>
          <p:sp>
            <p:nvSpPr>
              <p:cNvPr id="28" name="Google Shape;1833;p23">
                <a:extLst>
                  <a:ext uri="{FF2B5EF4-FFF2-40B4-BE49-F238E27FC236}">
                    <a16:creationId xmlns:a16="http://schemas.microsoft.com/office/drawing/2014/main" id="{C3DDD054-F6B3-FDF0-4ED1-3B42ACD0C8EB}"/>
                  </a:ext>
                </a:extLst>
              </p:cNvPr>
              <p:cNvSpPr/>
              <p:nvPr/>
            </p:nvSpPr>
            <p:spPr>
              <a:xfrm>
                <a:off x="5706740" y="4304788"/>
                <a:ext cx="4392487" cy="900000"/>
              </a:xfrm>
              <a:prstGeom prst="rect">
                <a:avLst/>
              </a:prstGeom>
              <a:solidFill>
                <a:srgbClr val="797991"/>
              </a:solidFill>
              <a:ln>
                <a:noFill/>
              </a:ln>
            </p:spPr>
            <p:txBody>
              <a:bodyPr spcFirstLastPara="1" wrap="square" lIns="91425" tIns="61550" rIns="91425" bIns="61550" anchor="t" anchorCtr="0">
                <a:noAutofit/>
              </a:bodyPr>
              <a:lstStyle/>
              <a:p>
                <a:pPr algn="l"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400" b="1"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duce friction ramping new team members</a:t>
                </a:r>
                <a:r>
                  <a:rPr lang="en-US" sz="1400"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with broadly deployed  comprehensive documentation and training</a:t>
                </a:r>
              </a:p>
            </p:txBody>
          </p:sp>
          <p:sp>
            <p:nvSpPr>
              <p:cNvPr id="29" name="Google Shape;1834;p23">
                <a:extLst>
                  <a:ext uri="{FF2B5EF4-FFF2-40B4-BE49-F238E27FC236}">
                    <a16:creationId xmlns:a16="http://schemas.microsoft.com/office/drawing/2014/main" id="{CF58FF55-054D-675F-0C79-EDDC8E0E0B2F}"/>
                  </a:ext>
                </a:extLst>
              </p:cNvPr>
              <p:cNvSpPr/>
              <p:nvPr/>
            </p:nvSpPr>
            <p:spPr>
              <a:xfrm>
                <a:off x="5706741" y="2998594"/>
                <a:ext cx="4392487" cy="900000"/>
              </a:xfrm>
              <a:prstGeom prst="rect">
                <a:avLst/>
              </a:prstGeom>
              <a:solidFill>
                <a:srgbClr val="D2D2DA"/>
              </a:solidFill>
              <a:ln>
                <a:noFill/>
              </a:ln>
            </p:spPr>
            <p:txBody>
              <a:bodyPr spcFirstLastPara="1" wrap="square" lIns="91425" tIns="61550" rIns="91425" bIns="61550" anchor="t" anchorCtr="0">
                <a:noAutofit/>
              </a:bodyPr>
              <a:lstStyle/>
              <a:p>
                <a:pPr algn="l"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400" b="1">
                    <a:solidFill>
                      <a:srgbClr val="2E2E38"/>
                    </a:solidFill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ency in deals with larger datasets </a:t>
                </a:r>
                <a:r>
                  <a:rPr lang="en-US" sz="1400">
                    <a:solidFill>
                      <a:srgbClr val="2E2E38"/>
                    </a:solidFill>
                    <a:latin typeface="EYInterstate Light" panose="02000506000000020004" pitchFamily="2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o that teams are not waiting around 1+ hour(s) for a workflow to run</a:t>
                </a:r>
              </a:p>
            </p:txBody>
          </p:sp>
          <p:sp>
            <p:nvSpPr>
              <p:cNvPr id="30" name="Google Shape;1835;p23">
                <a:extLst>
                  <a:ext uri="{FF2B5EF4-FFF2-40B4-BE49-F238E27FC236}">
                    <a16:creationId xmlns:a16="http://schemas.microsoft.com/office/drawing/2014/main" id="{7B857744-41AE-1845-22EC-9A8E98B05DD3}"/>
                  </a:ext>
                </a:extLst>
              </p:cNvPr>
              <p:cNvSpPr/>
              <p:nvPr/>
            </p:nvSpPr>
            <p:spPr>
              <a:xfrm>
                <a:off x="5706739" y="5610982"/>
                <a:ext cx="4392487" cy="900000"/>
              </a:xfrm>
              <a:prstGeom prst="rect">
                <a:avLst/>
              </a:prstGeom>
              <a:solidFill>
                <a:schemeClr val="bg2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spcFirstLastPara="1" wrap="square" lIns="91425" tIns="61550" rIns="91425" bIns="61550" anchor="t" anchorCtr="0">
                <a:noAutofit/>
              </a:bodyPr>
              <a:lstStyle/>
              <a:p>
                <a:pPr algn="l">
                  <a:lnSpc>
                    <a:spcPct val="100000"/>
                  </a:lnSpc>
                  <a:spcBef>
                    <a:spcPts val="0"/>
                  </a:spcBef>
                </a:pPr>
                <a:r>
                  <a:rPr lang="en-US" sz="1400" b="1">
                    <a:latin typeface="EYInterstate Light" panose="02000506000000020004" pitchFamily="2" charset="0"/>
                  </a:rPr>
                  <a:t>Leveraging and adopting best-in-class solutions </a:t>
                </a:r>
                <a:r>
                  <a:rPr lang="en-US" sz="1400">
                    <a:latin typeface="EYInterstate Light" panose="02000506000000020004" pitchFamily="2" charset="0"/>
                  </a:rPr>
                  <a:t>to remain competitive and efficient</a:t>
                </a:r>
                <a:endParaRPr lang="en-US" sz="1400">
                  <a:latin typeface="EYInterstate Light" panose="02000506000000020004" pitchFamily="2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19" name="Google Shape;1836;p23">
              <a:extLst>
                <a:ext uri="{FF2B5EF4-FFF2-40B4-BE49-F238E27FC236}">
                  <a16:creationId xmlns:a16="http://schemas.microsoft.com/office/drawing/2014/main" id="{E8AD6B6B-CAD0-DFFD-AFD6-FD21E070F6B0}"/>
                </a:ext>
              </a:extLst>
            </p:cNvPr>
            <p:cNvSpPr txBox="1"/>
            <p:nvPr/>
          </p:nvSpPr>
          <p:spPr>
            <a:xfrm>
              <a:off x="6343068" y="2236379"/>
              <a:ext cx="432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Arial"/>
                  <a:cs typeface="Arial"/>
                  <a:sym typeface="Arial"/>
                </a:rPr>
                <a:t>01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1837;p23">
              <a:extLst>
                <a:ext uri="{FF2B5EF4-FFF2-40B4-BE49-F238E27FC236}">
                  <a16:creationId xmlns:a16="http://schemas.microsoft.com/office/drawing/2014/main" id="{B8788305-881D-575D-BB4E-570BE1CCC7E5}"/>
                </a:ext>
              </a:extLst>
            </p:cNvPr>
            <p:cNvSpPr txBox="1"/>
            <p:nvPr/>
          </p:nvSpPr>
          <p:spPr>
            <a:xfrm>
              <a:off x="6343068" y="3354264"/>
              <a:ext cx="432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Arial"/>
                  <a:cs typeface="Arial"/>
                  <a:sym typeface="Arial"/>
                </a:rPr>
                <a:t>02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1838;p23">
              <a:extLst>
                <a:ext uri="{FF2B5EF4-FFF2-40B4-BE49-F238E27FC236}">
                  <a16:creationId xmlns:a16="http://schemas.microsoft.com/office/drawing/2014/main" id="{795955AC-1D7E-8004-F306-3AE52E3B0CE1}"/>
                </a:ext>
              </a:extLst>
            </p:cNvPr>
            <p:cNvSpPr txBox="1"/>
            <p:nvPr/>
          </p:nvSpPr>
          <p:spPr>
            <a:xfrm>
              <a:off x="6343068" y="4466279"/>
              <a:ext cx="432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Arial"/>
                  <a:cs typeface="Arial"/>
                  <a:sym typeface="Arial"/>
                </a:rPr>
                <a:t>03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839;p23">
              <a:extLst>
                <a:ext uri="{FF2B5EF4-FFF2-40B4-BE49-F238E27FC236}">
                  <a16:creationId xmlns:a16="http://schemas.microsoft.com/office/drawing/2014/main" id="{724EDC11-65DA-1523-FD04-3B7BB2AAD1AA}"/>
                </a:ext>
              </a:extLst>
            </p:cNvPr>
            <p:cNvSpPr txBox="1"/>
            <p:nvPr/>
          </p:nvSpPr>
          <p:spPr>
            <a:xfrm>
              <a:off x="6343068" y="5572402"/>
              <a:ext cx="4320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Arial"/>
                  <a:cs typeface="Arial"/>
                  <a:sym typeface="Arial"/>
                </a:rPr>
                <a:t>04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4" name="Right Brace 33">
            <a:extLst>
              <a:ext uri="{FF2B5EF4-FFF2-40B4-BE49-F238E27FC236}">
                <a16:creationId xmlns:a16="http://schemas.microsoft.com/office/drawing/2014/main" id="{B7F5BE2C-DC50-4975-4F6A-29267ED8707D}"/>
              </a:ext>
            </a:extLst>
          </p:cNvPr>
          <p:cNvSpPr/>
          <p:nvPr/>
        </p:nvSpPr>
        <p:spPr>
          <a:xfrm>
            <a:off x="4944267" y="1811108"/>
            <a:ext cx="381000" cy="4593469"/>
          </a:xfrm>
          <a:prstGeom prst="rightBrace">
            <a:avLst>
              <a:gd name="adj1" fmla="val 78333"/>
              <a:gd name="adj2" fmla="val 50000"/>
            </a:avLst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59">
            <a:extLst>
              <a:ext uri="{FF2B5EF4-FFF2-40B4-BE49-F238E27FC236}">
                <a16:creationId xmlns:a16="http://schemas.microsoft.com/office/drawing/2014/main" id="{196E302E-3F47-7D90-0554-27E3AFBDC7D4}"/>
              </a:ext>
            </a:extLst>
          </p:cNvPr>
          <p:cNvSpPr/>
          <p:nvPr/>
        </p:nvSpPr>
        <p:spPr>
          <a:xfrm>
            <a:off x="898931" y="1262414"/>
            <a:ext cx="38028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The WH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7" name="Rectangle 59">
            <a:extLst>
              <a:ext uri="{FF2B5EF4-FFF2-40B4-BE49-F238E27FC236}">
                <a16:creationId xmlns:a16="http://schemas.microsoft.com/office/drawing/2014/main" id="{E383E06F-AD71-0E3D-7D83-823789B16F57}"/>
              </a:ext>
            </a:extLst>
          </p:cNvPr>
          <p:cNvSpPr/>
          <p:nvPr/>
        </p:nvSpPr>
        <p:spPr>
          <a:xfrm>
            <a:off x="5498306" y="1262414"/>
            <a:ext cx="38028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 Light"/>
                <a:ea typeface="+mn-ea"/>
                <a:cs typeface="+mn-cs"/>
              </a:rPr>
              <a:t>The HOW</a:t>
            </a:r>
          </a:p>
        </p:txBody>
      </p:sp>
      <p:sp>
        <p:nvSpPr>
          <p:cNvPr id="53" name="Freeform 4">
            <a:extLst>
              <a:ext uri="{FF2B5EF4-FFF2-40B4-BE49-F238E27FC236}">
                <a16:creationId xmlns:a16="http://schemas.microsoft.com/office/drawing/2014/main" id="{EA090BC5-4F0B-9FEE-C8BC-299F519A618E}"/>
              </a:ext>
            </a:extLst>
          </p:cNvPr>
          <p:cNvSpPr>
            <a:spLocks/>
          </p:cNvSpPr>
          <p:nvPr/>
        </p:nvSpPr>
        <p:spPr bwMode="gray">
          <a:xfrm flipV="1">
            <a:off x="5599906" y="3498197"/>
            <a:ext cx="2699866" cy="2699866"/>
          </a:xfrm>
          <a:custGeom>
            <a:avLst/>
            <a:gdLst>
              <a:gd name="T0" fmla="*/ 5711 w 1446"/>
              <a:gd name="T1" fmla="*/ 1235490 h 1446"/>
              <a:gd name="T2" fmla="*/ 26652 w 1446"/>
              <a:gd name="T3" fmla="*/ 1098425 h 1446"/>
              <a:gd name="T4" fmla="*/ 62822 w 1446"/>
              <a:gd name="T5" fmla="*/ 967071 h 1446"/>
              <a:gd name="T6" fmla="*/ 135161 w 1446"/>
              <a:gd name="T7" fmla="*/ 780510 h 1446"/>
              <a:gd name="T8" fmla="*/ 199887 w 1446"/>
              <a:gd name="T9" fmla="*/ 664385 h 1446"/>
              <a:gd name="T10" fmla="*/ 314108 w 1446"/>
              <a:gd name="T11" fmla="*/ 502572 h 1446"/>
              <a:gd name="T12" fmla="*/ 451173 w 1446"/>
              <a:gd name="T13" fmla="*/ 359796 h 1446"/>
              <a:gd name="T14" fmla="*/ 607275 w 1446"/>
              <a:gd name="T15" fmla="*/ 236057 h 1446"/>
              <a:gd name="T16" fmla="*/ 721496 w 1446"/>
              <a:gd name="T17" fmla="*/ 167524 h 1446"/>
              <a:gd name="T18" fmla="*/ 869983 w 1446"/>
              <a:gd name="T19" fmla="*/ 95184 h 1446"/>
              <a:gd name="T20" fmla="*/ 1031796 w 1446"/>
              <a:gd name="T21" fmla="*/ 45688 h 1446"/>
              <a:gd name="T22" fmla="*/ 1134595 w 1446"/>
              <a:gd name="T23" fmla="*/ 20941 h 1446"/>
              <a:gd name="T24" fmla="*/ 1235490 w 1446"/>
              <a:gd name="T25" fmla="*/ 5711 h 1446"/>
              <a:gd name="T26" fmla="*/ 1340193 w 1446"/>
              <a:gd name="T27" fmla="*/ 0 h 1446"/>
              <a:gd name="T28" fmla="*/ 1517235 w 1446"/>
              <a:gd name="T29" fmla="*/ 5711 h 1446"/>
              <a:gd name="T30" fmla="*/ 1654300 w 1446"/>
              <a:gd name="T31" fmla="*/ 26652 h 1446"/>
              <a:gd name="T32" fmla="*/ 1785654 w 1446"/>
              <a:gd name="T33" fmla="*/ 62822 h 1446"/>
              <a:gd name="T34" fmla="*/ 1974119 w 1446"/>
              <a:gd name="T35" fmla="*/ 135161 h 1446"/>
              <a:gd name="T36" fmla="*/ 2092147 w 1446"/>
              <a:gd name="T37" fmla="*/ 199887 h 1446"/>
              <a:gd name="T38" fmla="*/ 2253960 w 1446"/>
              <a:gd name="T39" fmla="*/ 314108 h 1446"/>
              <a:gd name="T40" fmla="*/ 2396736 w 1446"/>
              <a:gd name="T41" fmla="*/ 451173 h 1446"/>
              <a:gd name="T42" fmla="*/ 2518572 w 1446"/>
              <a:gd name="T43" fmla="*/ 607275 h 1446"/>
              <a:gd name="T44" fmla="*/ 2589008 w 1446"/>
              <a:gd name="T45" fmla="*/ 721496 h 1446"/>
              <a:gd name="T46" fmla="*/ 2657541 w 1446"/>
              <a:gd name="T47" fmla="*/ 869983 h 1446"/>
              <a:gd name="T48" fmla="*/ 2710844 w 1446"/>
              <a:gd name="T49" fmla="*/ 1031796 h 1446"/>
              <a:gd name="T50" fmla="*/ 2731784 w 1446"/>
              <a:gd name="T51" fmla="*/ 1134595 h 1446"/>
              <a:gd name="T52" fmla="*/ 2747014 w 1446"/>
              <a:gd name="T53" fmla="*/ 1235490 h 1446"/>
              <a:gd name="T54" fmla="*/ 2752725 w 1446"/>
              <a:gd name="T55" fmla="*/ 1340193 h 1446"/>
              <a:gd name="T56" fmla="*/ 2747014 w 1446"/>
              <a:gd name="T57" fmla="*/ 1517235 h 1446"/>
              <a:gd name="T58" fmla="*/ 2726073 w 1446"/>
              <a:gd name="T59" fmla="*/ 1654300 h 1446"/>
              <a:gd name="T60" fmla="*/ 2689903 w 1446"/>
              <a:gd name="T61" fmla="*/ 1785654 h 1446"/>
              <a:gd name="T62" fmla="*/ 2617564 w 1446"/>
              <a:gd name="T63" fmla="*/ 1976023 h 1446"/>
              <a:gd name="T64" fmla="*/ 2554742 w 1446"/>
              <a:gd name="T65" fmla="*/ 2092147 h 1446"/>
              <a:gd name="T66" fmla="*/ 2438617 w 1446"/>
              <a:gd name="T67" fmla="*/ 2253960 h 1446"/>
              <a:gd name="T68" fmla="*/ 2301552 w 1446"/>
              <a:gd name="T69" fmla="*/ 2396736 h 1446"/>
              <a:gd name="T70" fmla="*/ 2145450 w 1446"/>
              <a:gd name="T71" fmla="*/ 2520476 h 1446"/>
              <a:gd name="T72" fmla="*/ 2031229 w 1446"/>
              <a:gd name="T73" fmla="*/ 2589008 h 1446"/>
              <a:gd name="T74" fmla="*/ 1882742 w 1446"/>
              <a:gd name="T75" fmla="*/ 2657541 h 1446"/>
              <a:gd name="T76" fmla="*/ 1720929 w 1446"/>
              <a:gd name="T77" fmla="*/ 2710844 h 1446"/>
              <a:gd name="T78" fmla="*/ 1621938 w 1446"/>
              <a:gd name="T79" fmla="*/ 2731784 h 1446"/>
              <a:gd name="T80" fmla="*/ 1517235 w 1446"/>
              <a:gd name="T81" fmla="*/ 2747014 h 1446"/>
              <a:gd name="T82" fmla="*/ 1412532 w 1446"/>
              <a:gd name="T83" fmla="*/ 2752725 h 1446"/>
              <a:gd name="T84" fmla="*/ 1235490 w 1446"/>
              <a:gd name="T85" fmla="*/ 2747014 h 1446"/>
              <a:gd name="T86" fmla="*/ 1098425 w 1446"/>
              <a:gd name="T87" fmla="*/ 2726073 h 1446"/>
              <a:gd name="T88" fmla="*/ 967071 w 1446"/>
              <a:gd name="T89" fmla="*/ 2689903 h 1446"/>
              <a:gd name="T90" fmla="*/ 780510 w 1446"/>
              <a:gd name="T91" fmla="*/ 2619467 h 1446"/>
              <a:gd name="T92" fmla="*/ 664385 w 1446"/>
              <a:gd name="T93" fmla="*/ 2554742 h 1446"/>
              <a:gd name="T94" fmla="*/ 502572 w 1446"/>
              <a:gd name="T95" fmla="*/ 2438617 h 1446"/>
              <a:gd name="T96" fmla="*/ 359796 w 1446"/>
              <a:gd name="T97" fmla="*/ 2301552 h 1446"/>
              <a:gd name="T98" fmla="*/ 236057 w 1446"/>
              <a:gd name="T99" fmla="*/ 2145450 h 1446"/>
              <a:gd name="T100" fmla="*/ 167524 w 1446"/>
              <a:gd name="T101" fmla="*/ 2031229 h 1446"/>
              <a:gd name="T102" fmla="*/ 95184 w 1446"/>
              <a:gd name="T103" fmla="*/ 1882742 h 1446"/>
              <a:gd name="T104" fmla="*/ 45688 w 1446"/>
              <a:gd name="T105" fmla="*/ 1720929 h 1446"/>
              <a:gd name="T106" fmla="*/ 20941 w 1446"/>
              <a:gd name="T107" fmla="*/ 1621938 h 1446"/>
              <a:gd name="T108" fmla="*/ 5711 w 1446"/>
              <a:gd name="T109" fmla="*/ 1517235 h 1446"/>
              <a:gd name="T110" fmla="*/ 0 w 1446"/>
              <a:gd name="T111" fmla="*/ 1412532 h 14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6"/>
              <a:gd name="T169" fmla="*/ 0 h 1446"/>
              <a:gd name="T170" fmla="*/ 1446 w 1446"/>
              <a:gd name="T171" fmla="*/ 1446 h 14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6" h="1446">
                <a:moveTo>
                  <a:pt x="0" y="723"/>
                </a:moveTo>
                <a:lnTo>
                  <a:pt x="2" y="685"/>
                </a:lnTo>
                <a:lnTo>
                  <a:pt x="3" y="649"/>
                </a:lnTo>
                <a:lnTo>
                  <a:pt x="6" y="632"/>
                </a:lnTo>
                <a:lnTo>
                  <a:pt x="8" y="613"/>
                </a:lnTo>
                <a:lnTo>
                  <a:pt x="14" y="577"/>
                </a:lnTo>
                <a:lnTo>
                  <a:pt x="19" y="560"/>
                </a:lnTo>
                <a:lnTo>
                  <a:pt x="24" y="542"/>
                </a:lnTo>
                <a:lnTo>
                  <a:pt x="33" y="508"/>
                </a:lnTo>
                <a:lnTo>
                  <a:pt x="44" y="475"/>
                </a:lnTo>
                <a:lnTo>
                  <a:pt x="57" y="442"/>
                </a:lnTo>
                <a:lnTo>
                  <a:pt x="71" y="410"/>
                </a:lnTo>
                <a:lnTo>
                  <a:pt x="79" y="395"/>
                </a:lnTo>
                <a:lnTo>
                  <a:pt x="88" y="379"/>
                </a:lnTo>
                <a:lnTo>
                  <a:pt x="105" y="349"/>
                </a:lnTo>
                <a:lnTo>
                  <a:pt x="124" y="319"/>
                </a:lnTo>
                <a:lnTo>
                  <a:pt x="145" y="291"/>
                </a:lnTo>
                <a:lnTo>
                  <a:pt x="165" y="264"/>
                </a:lnTo>
                <a:lnTo>
                  <a:pt x="189" y="237"/>
                </a:lnTo>
                <a:lnTo>
                  <a:pt x="212" y="212"/>
                </a:lnTo>
                <a:lnTo>
                  <a:pt x="237" y="189"/>
                </a:lnTo>
                <a:lnTo>
                  <a:pt x="264" y="165"/>
                </a:lnTo>
                <a:lnTo>
                  <a:pt x="291" y="145"/>
                </a:lnTo>
                <a:lnTo>
                  <a:pt x="319" y="124"/>
                </a:lnTo>
                <a:lnTo>
                  <a:pt x="333" y="115"/>
                </a:lnTo>
                <a:lnTo>
                  <a:pt x="349" y="105"/>
                </a:lnTo>
                <a:lnTo>
                  <a:pt x="379" y="88"/>
                </a:lnTo>
                <a:lnTo>
                  <a:pt x="410" y="71"/>
                </a:lnTo>
                <a:lnTo>
                  <a:pt x="442" y="57"/>
                </a:lnTo>
                <a:lnTo>
                  <a:pt x="457" y="50"/>
                </a:lnTo>
                <a:lnTo>
                  <a:pt x="475" y="44"/>
                </a:lnTo>
                <a:lnTo>
                  <a:pt x="508" y="33"/>
                </a:lnTo>
                <a:lnTo>
                  <a:pt x="542" y="24"/>
                </a:lnTo>
                <a:lnTo>
                  <a:pt x="560" y="19"/>
                </a:lnTo>
                <a:lnTo>
                  <a:pt x="577" y="14"/>
                </a:lnTo>
                <a:lnTo>
                  <a:pt x="596" y="11"/>
                </a:lnTo>
                <a:lnTo>
                  <a:pt x="613" y="8"/>
                </a:lnTo>
                <a:lnTo>
                  <a:pt x="632" y="6"/>
                </a:lnTo>
                <a:lnTo>
                  <a:pt x="649" y="3"/>
                </a:lnTo>
                <a:lnTo>
                  <a:pt x="668" y="2"/>
                </a:lnTo>
                <a:lnTo>
                  <a:pt x="685" y="2"/>
                </a:lnTo>
                <a:lnTo>
                  <a:pt x="704" y="0"/>
                </a:lnTo>
                <a:lnTo>
                  <a:pt x="723" y="0"/>
                </a:lnTo>
                <a:lnTo>
                  <a:pt x="761" y="2"/>
                </a:lnTo>
                <a:lnTo>
                  <a:pt x="797" y="3"/>
                </a:lnTo>
                <a:lnTo>
                  <a:pt x="816" y="6"/>
                </a:lnTo>
                <a:lnTo>
                  <a:pt x="833" y="8"/>
                </a:lnTo>
                <a:lnTo>
                  <a:pt x="869" y="14"/>
                </a:lnTo>
                <a:lnTo>
                  <a:pt x="886" y="19"/>
                </a:lnTo>
                <a:lnTo>
                  <a:pt x="904" y="24"/>
                </a:lnTo>
                <a:lnTo>
                  <a:pt x="938" y="33"/>
                </a:lnTo>
                <a:lnTo>
                  <a:pt x="971" y="44"/>
                </a:lnTo>
                <a:lnTo>
                  <a:pt x="1004" y="57"/>
                </a:lnTo>
                <a:lnTo>
                  <a:pt x="1037" y="71"/>
                </a:lnTo>
                <a:lnTo>
                  <a:pt x="1053" y="79"/>
                </a:lnTo>
                <a:lnTo>
                  <a:pt x="1067" y="88"/>
                </a:lnTo>
                <a:lnTo>
                  <a:pt x="1099" y="105"/>
                </a:lnTo>
                <a:lnTo>
                  <a:pt x="1127" y="124"/>
                </a:lnTo>
                <a:lnTo>
                  <a:pt x="1155" y="145"/>
                </a:lnTo>
                <a:lnTo>
                  <a:pt x="1184" y="165"/>
                </a:lnTo>
                <a:lnTo>
                  <a:pt x="1209" y="189"/>
                </a:lnTo>
                <a:lnTo>
                  <a:pt x="1234" y="212"/>
                </a:lnTo>
                <a:lnTo>
                  <a:pt x="1259" y="237"/>
                </a:lnTo>
                <a:lnTo>
                  <a:pt x="1281" y="264"/>
                </a:lnTo>
                <a:lnTo>
                  <a:pt x="1303" y="291"/>
                </a:lnTo>
                <a:lnTo>
                  <a:pt x="1323" y="319"/>
                </a:lnTo>
                <a:lnTo>
                  <a:pt x="1333" y="333"/>
                </a:lnTo>
                <a:lnTo>
                  <a:pt x="1342" y="349"/>
                </a:lnTo>
                <a:lnTo>
                  <a:pt x="1360" y="379"/>
                </a:lnTo>
                <a:lnTo>
                  <a:pt x="1375" y="410"/>
                </a:lnTo>
                <a:lnTo>
                  <a:pt x="1389" y="442"/>
                </a:lnTo>
                <a:lnTo>
                  <a:pt x="1396" y="457"/>
                </a:lnTo>
                <a:lnTo>
                  <a:pt x="1402" y="475"/>
                </a:lnTo>
                <a:lnTo>
                  <a:pt x="1413" y="508"/>
                </a:lnTo>
                <a:lnTo>
                  <a:pt x="1424" y="542"/>
                </a:lnTo>
                <a:lnTo>
                  <a:pt x="1427" y="560"/>
                </a:lnTo>
                <a:lnTo>
                  <a:pt x="1432" y="577"/>
                </a:lnTo>
                <a:lnTo>
                  <a:pt x="1435" y="596"/>
                </a:lnTo>
                <a:lnTo>
                  <a:pt x="1438" y="613"/>
                </a:lnTo>
                <a:lnTo>
                  <a:pt x="1440" y="632"/>
                </a:lnTo>
                <a:lnTo>
                  <a:pt x="1443" y="649"/>
                </a:lnTo>
                <a:lnTo>
                  <a:pt x="1444" y="668"/>
                </a:lnTo>
                <a:lnTo>
                  <a:pt x="1446" y="685"/>
                </a:lnTo>
                <a:lnTo>
                  <a:pt x="1446" y="704"/>
                </a:lnTo>
                <a:lnTo>
                  <a:pt x="1446" y="723"/>
                </a:lnTo>
                <a:lnTo>
                  <a:pt x="1446" y="761"/>
                </a:lnTo>
                <a:lnTo>
                  <a:pt x="1443" y="797"/>
                </a:lnTo>
                <a:lnTo>
                  <a:pt x="1440" y="816"/>
                </a:lnTo>
                <a:lnTo>
                  <a:pt x="1438" y="833"/>
                </a:lnTo>
                <a:lnTo>
                  <a:pt x="1432" y="869"/>
                </a:lnTo>
                <a:lnTo>
                  <a:pt x="1427" y="887"/>
                </a:lnTo>
                <a:lnTo>
                  <a:pt x="1424" y="904"/>
                </a:lnTo>
                <a:lnTo>
                  <a:pt x="1413" y="938"/>
                </a:lnTo>
                <a:lnTo>
                  <a:pt x="1402" y="972"/>
                </a:lnTo>
                <a:lnTo>
                  <a:pt x="1389" y="1005"/>
                </a:lnTo>
                <a:lnTo>
                  <a:pt x="1375" y="1038"/>
                </a:lnTo>
                <a:lnTo>
                  <a:pt x="1367" y="1053"/>
                </a:lnTo>
                <a:lnTo>
                  <a:pt x="1360" y="1067"/>
                </a:lnTo>
                <a:lnTo>
                  <a:pt x="1342" y="1099"/>
                </a:lnTo>
                <a:lnTo>
                  <a:pt x="1323" y="1127"/>
                </a:lnTo>
                <a:lnTo>
                  <a:pt x="1303" y="1155"/>
                </a:lnTo>
                <a:lnTo>
                  <a:pt x="1281" y="1184"/>
                </a:lnTo>
                <a:lnTo>
                  <a:pt x="1259" y="1209"/>
                </a:lnTo>
                <a:lnTo>
                  <a:pt x="1234" y="1234"/>
                </a:lnTo>
                <a:lnTo>
                  <a:pt x="1209" y="1259"/>
                </a:lnTo>
                <a:lnTo>
                  <a:pt x="1184" y="1281"/>
                </a:lnTo>
                <a:lnTo>
                  <a:pt x="1155" y="1303"/>
                </a:lnTo>
                <a:lnTo>
                  <a:pt x="1127" y="1324"/>
                </a:lnTo>
                <a:lnTo>
                  <a:pt x="1113" y="1333"/>
                </a:lnTo>
                <a:lnTo>
                  <a:pt x="1099" y="1342"/>
                </a:lnTo>
                <a:lnTo>
                  <a:pt x="1067" y="1360"/>
                </a:lnTo>
                <a:lnTo>
                  <a:pt x="1037" y="1376"/>
                </a:lnTo>
                <a:lnTo>
                  <a:pt x="1004" y="1390"/>
                </a:lnTo>
                <a:lnTo>
                  <a:pt x="989" y="1396"/>
                </a:lnTo>
                <a:lnTo>
                  <a:pt x="971" y="1402"/>
                </a:lnTo>
                <a:lnTo>
                  <a:pt x="938" y="1413"/>
                </a:lnTo>
                <a:lnTo>
                  <a:pt x="904" y="1424"/>
                </a:lnTo>
                <a:lnTo>
                  <a:pt x="886" y="1427"/>
                </a:lnTo>
                <a:lnTo>
                  <a:pt x="869" y="1432"/>
                </a:lnTo>
                <a:lnTo>
                  <a:pt x="852" y="1435"/>
                </a:lnTo>
                <a:lnTo>
                  <a:pt x="833" y="1438"/>
                </a:lnTo>
                <a:lnTo>
                  <a:pt x="816" y="1440"/>
                </a:lnTo>
                <a:lnTo>
                  <a:pt x="797" y="1443"/>
                </a:lnTo>
                <a:lnTo>
                  <a:pt x="780" y="1445"/>
                </a:lnTo>
                <a:lnTo>
                  <a:pt x="761" y="1446"/>
                </a:lnTo>
                <a:lnTo>
                  <a:pt x="742" y="1446"/>
                </a:lnTo>
                <a:lnTo>
                  <a:pt x="723" y="1446"/>
                </a:lnTo>
                <a:lnTo>
                  <a:pt x="685" y="1446"/>
                </a:lnTo>
                <a:lnTo>
                  <a:pt x="649" y="1443"/>
                </a:lnTo>
                <a:lnTo>
                  <a:pt x="632" y="1440"/>
                </a:lnTo>
                <a:lnTo>
                  <a:pt x="613" y="1438"/>
                </a:lnTo>
                <a:lnTo>
                  <a:pt x="577" y="1432"/>
                </a:lnTo>
                <a:lnTo>
                  <a:pt x="560" y="1427"/>
                </a:lnTo>
                <a:lnTo>
                  <a:pt x="542" y="1424"/>
                </a:lnTo>
                <a:lnTo>
                  <a:pt x="508" y="1413"/>
                </a:lnTo>
                <a:lnTo>
                  <a:pt x="475" y="1402"/>
                </a:lnTo>
                <a:lnTo>
                  <a:pt x="442" y="1390"/>
                </a:lnTo>
                <a:lnTo>
                  <a:pt x="410" y="1376"/>
                </a:lnTo>
                <a:lnTo>
                  <a:pt x="395" y="1368"/>
                </a:lnTo>
                <a:lnTo>
                  <a:pt x="379" y="1360"/>
                </a:lnTo>
                <a:lnTo>
                  <a:pt x="349" y="1342"/>
                </a:lnTo>
                <a:lnTo>
                  <a:pt x="319" y="1324"/>
                </a:lnTo>
                <a:lnTo>
                  <a:pt x="291" y="1303"/>
                </a:lnTo>
                <a:lnTo>
                  <a:pt x="264" y="1281"/>
                </a:lnTo>
                <a:lnTo>
                  <a:pt x="237" y="1259"/>
                </a:lnTo>
                <a:lnTo>
                  <a:pt x="212" y="1234"/>
                </a:lnTo>
                <a:lnTo>
                  <a:pt x="189" y="1209"/>
                </a:lnTo>
                <a:lnTo>
                  <a:pt x="165" y="1184"/>
                </a:lnTo>
                <a:lnTo>
                  <a:pt x="145" y="1155"/>
                </a:lnTo>
                <a:lnTo>
                  <a:pt x="124" y="1127"/>
                </a:lnTo>
                <a:lnTo>
                  <a:pt x="115" y="1113"/>
                </a:lnTo>
                <a:lnTo>
                  <a:pt x="105" y="1099"/>
                </a:lnTo>
                <a:lnTo>
                  <a:pt x="88" y="1067"/>
                </a:lnTo>
                <a:lnTo>
                  <a:pt x="71" y="1038"/>
                </a:lnTo>
                <a:lnTo>
                  <a:pt x="57" y="1005"/>
                </a:lnTo>
                <a:lnTo>
                  <a:pt x="50" y="989"/>
                </a:lnTo>
                <a:lnTo>
                  <a:pt x="44" y="972"/>
                </a:lnTo>
                <a:lnTo>
                  <a:pt x="33" y="938"/>
                </a:lnTo>
                <a:lnTo>
                  <a:pt x="24" y="904"/>
                </a:lnTo>
                <a:lnTo>
                  <a:pt x="19" y="887"/>
                </a:lnTo>
                <a:lnTo>
                  <a:pt x="14" y="869"/>
                </a:lnTo>
                <a:lnTo>
                  <a:pt x="11" y="852"/>
                </a:lnTo>
                <a:lnTo>
                  <a:pt x="8" y="833"/>
                </a:lnTo>
                <a:lnTo>
                  <a:pt x="6" y="816"/>
                </a:lnTo>
                <a:lnTo>
                  <a:pt x="3" y="797"/>
                </a:lnTo>
                <a:lnTo>
                  <a:pt x="2" y="780"/>
                </a:lnTo>
                <a:lnTo>
                  <a:pt x="2" y="761"/>
                </a:lnTo>
                <a:lnTo>
                  <a:pt x="0" y="742"/>
                </a:lnTo>
                <a:lnTo>
                  <a:pt x="0" y="723"/>
                </a:lnTo>
                <a:close/>
              </a:path>
            </a:pathLst>
          </a:cu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4" name="Freeform 5">
            <a:extLst>
              <a:ext uri="{FF2B5EF4-FFF2-40B4-BE49-F238E27FC236}">
                <a16:creationId xmlns:a16="http://schemas.microsoft.com/office/drawing/2014/main" id="{DF7E90BA-8EE7-B46E-9D83-5C07DB327E64}"/>
              </a:ext>
            </a:extLst>
          </p:cNvPr>
          <p:cNvSpPr>
            <a:spLocks/>
          </p:cNvSpPr>
          <p:nvPr/>
        </p:nvSpPr>
        <p:spPr bwMode="gray">
          <a:xfrm flipV="1">
            <a:off x="7682706" y="3498197"/>
            <a:ext cx="2699866" cy="2699866"/>
          </a:xfrm>
          <a:custGeom>
            <a:avLst/>
            <a:gdLst>
              <a:gd name="T0" fmla="*/ 5711 w 1446"/>
              <a:gd name="T1" fmla="*/ 1235490 h 1446"/>
              <a:gd name="T2" fmla="*/ 26652 w 1446"/>
              <a:gd name="T3" fmla="*/ 1098425 h 1446"/>
              <a:gd name="T4" fmla="*/ 62822 w 1446"/>
              <a:gd name="T5" fmla="*/ 967071 h 1446"/>
              <a:gd name="T6" fmla="*/ 135161 w 1446"/>
              <a:gd name="T7" fmla="*/ 780510 h 1446"/>
              <a:gd name="T8" fmla="*/ 199887 w 1446"/>
              <a:gd name="T9" fmla="*/ 664385 h 1446"/>
              <a:gd name="T10" fmla="*/ 314108 w 1446"/>
              <a:gd name="T11" fmla="*/ 502572 h 1446"/>
              <a:gd name="T12" fmla="*/ 451173 w 1446"/>
              <a:gd name="T13" fmla="*/ 359796 h 1446"/>
              <a:gd name="T14" fmla="*/ 607275 w 1446"/>
              <a:gd name="T15" fmla="*/ 236057 h 1446"/>
              <a:gd name="T16" fmla="*/ 721496 w 1446"/>
              <a:gd name="T17" fmla="*/ 167524 h 1446"/>
              <a:gd name="T18" fmla="*/ 869983 w 1446"/>
              <a:gd name="T19" fmla="*/ 95184 h 1446"/>
              <a:gd name="T20" fmla="*/ 1031796 w 1446"/>
              <a:gd name="T21" fmla="*/ 45688 h 1446"/>
              <a:gd name="T22" fmla="*/ 1134595 w 1446"/>
              <a:gd name="T23" fmla="*/ 20941 h 1446"/>
              <a:gd name="T24" fmla="*/ 1235490 w 1446"/>
              <a:gd name="T25" fmla="*/ 5711 h 1446"/>
              <a:gd name="T26" fmla="*/ 1340193 w 1446"/>
              <a:gd name="T27" fmla="*/ 0 h 1446"/>
              <a:gd name="T28" fmla="*/ 1517235 w 1446"/>
              <a:gd name="T29" fmla="*/ 5711 h 1446"/>
              <a:gd name="T30" fmla="*/ 1654300 w 1446"/>
              <a:gd name="T31" fmla="*/ 26652 h 1446"/>
              <a:gd name="T32" fmla="*/ 1785654 w 1446"/>
              <a:gd name="T33" fmla="*/ 62822 h 1446"/>
              <a:gd name="T34" fmla="*/ 1974119 w 1446"/>
              <a:gd name="T35" fmla="*/ 135161 h 1446"/>
              <a:gd name="T36" fmla="*/ 2092147 w 1446"/>
              <a:gd name="T37" fmla="*/ 199887 h 1446"/>
              <a:gd name="T38" fmla="*/ 2253960 w 1446"/>
              <a:gd name="T39" fmla="*/ 314108 h 1446"/>
              <a:gd name="T40" fmla="*/ 2396736 w 1446"/>
              <a:gd name="T41" fmla="*/ 451173 h 1446"/>
              <a:gd name="T42" fmla="*/ 2518572 w 1446"/>
              <a:gd name="T43" fmla="*/ 607275 h 1446"/>
              <a:gd name="T44" fmla="*/ 2589008 w 1446"/>
              <a:gd name="T45" fmla="*/ 721496 h 1446"/>
              <a:gd name="T46" fmla="*/ 2657541 w 1446"/>
              <a:gd name="T47" fmla="*/ 869983 h 1446"/>
              <a:gd name="T48" fmla="*/ 2710844 w 1446"/>
              <a:gd name="T49" fmla="*/ 1031796 h 1446"/>
              <a:gd name="T50" fmla="*/ 2731784 w 1446"/>
              <a:gd name="T51" fmla="*/ 1134595 h 1446"/>
              <a:gd name="T52" fmla="*/ 2747014 w 1446"/>
              <a:gd name="T53" fmla="*/ 1235490 h 1446"/>
              <a:gd name="T54" fmla="*/ 2752725 w 1446"/>
              <a:gd name="T55" fmla="*/ 1340193 h 1446"/>
              <a:gd name="T56" fmla="*/ 2747014 w 1446"/>
              <a:gd name="T57" fmla="*/ 1517235 h 1446"/>
              <a:gd name="T58" fmla="*/ 2726073 w 1446"/>
              <a:gd name="T59" fmla="*/ 1654300 h 1446"/>
              <a:gd name="T60" fmla="*/ 2689903 w 1446"/>
              <a:gd name="T61" fmla="*/ 1785654 h 1446"/>
              <a:gd name="T62" fmla="*/ 2617564 w 1446"/>
              <a:gd name="T63" fmla="*/ 1976023 h 1446"/>
              <a:gd name="T64" fmla="*/ 2554742 w 1446"/>
              <a:gd name="T65" fmla="*/ 2092147 h 1446"/>
              <a:gd name="T66" fmla="*/ 2438617 w 1446"/>
              <a:gd name="T67" fmla="*/ 2253960 h 1446"/>
              <a:gd name="T68" fmla="*/ 2301552 w 1446"/>
              <a:gd name="T69" fmla="*/ 2396736 h 1446"/>
              <a:gd name="T70" fmla="*/ 2145450 w 1446"/>
              <a:gd name="T71" fmla="*/ 2520476 h 1446"/>
              <a:gd name="T72" fmla="*/ 2031229 w 1446"/>
              <a:gd name="T73" fmla="*/ 2589008 h 1446"/>
              <a:gd name="T74" fmla="*/ 1882742 w 1446"/>
              <a:gd name="T75" fmla="*/ 2657541 h 1446"/>
              <a:gd name="T76" fmla="*/ 1720929 w 1446"/>
              <a:gd name="T77" fmla="*/ 2710844 h 1446"/>
              <a:gd name="T78" fmla="*/ 1621938 w 1446"/>
              <a:gd name="T79" fmla="*/ 2731784 h 1446"/>
              <a:gd name="T80" fmla="*/ 1517235 w 1446"/>
              <a:gd name="T81" fmla="*/ 2747014 h 1446"/>
              <a:gd name="T82" fmla="*/ 1412532 w 1446"/>
              <a:gd name="T83" fmla="*/ 2752725 h 1446"/>
              <a:gd name="T84" fmla="*/ 1235490 w 1446"/>
              <a:gd name="T85" fmla="*/ 2747014 h 1446"/>
              <a:gd name="T86" fmla="*/ 1098425 w 1446"/>
              <a:gd name="T87" fmla="*/ 2726073 h 1446"/>
              <a:gd name="T88" fmla="*/ 967071 w 1446"/>
              <a:gd name="T89" fmla="*/ 2689903 h 1446"/>
              <a:gd name="T90" fmla="*/ 780510 w 1446"/>
              <a:gd name="T91" fmla="*/ 2619467 h 1446"/>
              <a:gd name="T92" fmla="*/ 664385 w 1446"/>
              <a:gd name="T93" fmla="*/ 2554742 h 1446"/>
              <a:gd name="T94" fmla="*/ 502572 w 1446"/>
              <a:gd name="T95" fmla="*/ 2438617 h 1446"/>
              <a:gd name="T96" fmla="*/ 359796 w 1446"/>
              <a:gd name="T97" fmla="*/ 2301552 h 1446"/>
              <a:gd name="T98" fmla="*/ 236057 w 1446"/>
              <a:gd name="T99" fmla="*/ 2145450 h 1446"/>
              <a:gd name="T100" fmla="*/ 167524 w 1446"/>
              <a:gd name="T101" fmla="*/ 2031229 h 1446"/>
              <a:gd name="T102" fmla="*/ 95184 w 1446"/>
              <a:gd name="T103" fmla="*/ 1882742 h 1446"/>
              <a:gd name="T104" fmla="*/ 45688 w 1446"/>
              <a:gd name="T105" fmla="*/ 1720929 h 1446"/>
              <a:gd name="T106" fmla="*/ 20941 w 1446"/>
              <a:gd name="T107" fmla="*/ 1621938 h 1446"/>
              <a:gd name="T108" fmla="*/ 5711 w 1446"/>
              <a:gd name="T109" fmla="*/ 1517235 h 1446"/>
              <a:gd name="T110" fmla="*/ 0 w 1446"/>
              <a:gd name="T111" fmla="*/ 1412532 h 14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6"/>
              <a:gd name="T169" fmla="*/ 0 h 1446"/>
              <a:gd name="T170" fmla="*/ 1446 w 1446"/>
              <a:gd name="T171" fmla="*/ 1446 h 14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6" h="1446">
                <a:moveTo>
                  <a:pt x="0" y="723"/>
                </a:moveTo>
                <a:lnTo>
                  <a:pt x="2" y="685"/>
                </a:lnTo>
                <a:lnTo>
                  <a:pt x="3" y="649"/>
                </a:lnTo>
                <a:lnTo>
                  <a:pt x="6" y="632"/>
                </a:lnTo>
                <a:lnTo>
                  <a:pt x="8" y="613"/>
                </a:lnTo>
                <a:lnTo>
                  <a:pt x="14" y="577"/>
                </a:lnTo>
                <a:lnTo>
                  <a:pt x="19" y="560"/>
                </a:lnTo>
                <a:lnTo>
                  <a:pt x="24" y="542"/>
                </a:lnTo>
                <a:lnTo>
                  <a:pt x="33" y="508"/>
                </a:lnTo>
                <a:lnTo>
                  <a:pt x="44" y="475"/>
                </a:lnTo>
                <a:lnTo>
                  <a:pt x="57" y="442"/>
                </a:lnTo>
                <a:lnTo>
                  <a:pt x="71" y="410"/>
                </a:lnTo>
                <a:lnTo>
                  <a:pt x="79" y="395"/>
                </a:lnTo>
                <a:lnTo>
                  <a:pt x="88" y="379"/>
                </a:lnTo>
                <a:lnTo>
                  <a:pt x="105" y="349"/>
                </a:lnTo>
                <a:lnTo>
                  <a:pt x="124" y="319"/>
                </a:lnTo>
                <a:lnTo>
                  <a:pt x="145" y="291"/>
                </a:lnTo>
                <a:lnTo>
                  <a:pt x="165" y="264"/>
                </a:lnTo>
                <a:lnTo>
                  <a:pt x="189" y="237"/>
                </a:lnTo>
                <a:lnTo>
                  <a:pt x="212" y="212"/>
                </a:lnTo>
                <a:lnTo>
                  <a:pt x="237" y="189"/>
                </a:lnTo>
                <a:lnTo>
                  <a:pt x="264" y="165"/>
                </a:lnTo>
                <a:lnTo>
                  <a:pt x="291" y="145"/>
                </a:lnTo>
                <a:lnTo>
                  <a:pt x="319" y="124"/>
                </a:lnTo>
                <a:lnTo>
                  <a:pt x="333" y="115"/>
                </a:lnTo>
                <a:lnTo>
                  <a:pt x="349" y="105"/>
                </a:lnTo>
                <a:lnTo>
                  <a:pt x="379" y="88"/>
                </a:lnTo>
                <a:lnTo>
                  <a:pt x="410" y="71"/>
                </a:lnTo>
                <a:lnTo>
                  <a:pt x="442" y="57"/>
                </a:lnTo>
                <a:lnTo>
                  <a:pt x="457" y="50"/>
                </a:lnTo>
                <a:lnTo>
                  <a:pt x="475" y="44"/>
                </a:lnTo>
                <a:lnTo>
                  <a:pt x="508" y="33"/>
                </a:lnTo>
                <a:lnTo>
                  <a:pt x="542" y="24"/>
                </a:lnTo>
                <a:lnTo>
                  <a:pt x="560" y="19"/>
                </a:lnTo>
                <a:lnTo>
                  <a:pt x="577" y="14"/>
                </a:lnTo>
                <a:lnTo>
                  <a:pt x="596" y="11"/>
                </a:lnTo>
                <a:lnTo>
                  <a:pt x="613" y="8"/>
                </a:lnTo>
                <a:lnTo>
                  <a:pt x="632" y="6"/>
                </a:lnTo>
                <a:lnTo>
                  <a:pt x="649" y="3"/>
                </a:lnTo>
                <a:lnTo>
                  <a:pt x="668" y="2"/>
                </a:lnTo>
                <a:lnTo>
                  <a:pt x="685" y="2"/>
                </a:lnTo>
                <a:lnTo>
                  <a:pt x="704" y="0"/>
                </a:lnTo>
                <a:lnTo>
                  <a:pt x="723" y="0"/>
                </a:lnTo>
                <a:lnTo>
                  <a:pt x="761" y="2"/>
                </a:lnTo>
                <a:lnTo>
                  <a:pt x="797" y="3"/>
                </a:lnTo>
                <a:lnTo>
                  <a:pt x="816" y="6"/>
                </a:lnTo>
                <a:lnTo>
                  <a:pt x="833" y="8"/>
                </a:lnTo>
                <a:lnTo>
                  <a:pt x="869" y="14"/>
                </a:lnTo>
                <a:lnTo>
                  <a:pt x="886" y="19"/>
                </a:lnTo>
                <a:lnTo>
                  <a:pt x="904" y="24"/>
                </a:lnTo>
                <a:lnTo>
                  <a:pt x="938" y="33"/>
                </a:lnTo>
                <a:lnTo>
                  <a:pt x="971" y="44"/>
                </a:lnTo>
                <a:lnTo>
                  <a:pt x="1004" y="57"/>
                </a:lnTo>
                <a:lnTo>
                  <a:pt x="1037" y="71"/>
                </a:lnTo>
                <a:lnTo>
                  <a:pt x="1053" y="79"/>
                </a:lnTo>
                <a:lnTo>
                  <a:pt x="1067" y="88"/>
                </a:lnTo>
                <a:lnTo>
                  <a:pt x="1099" y="105"/>
                </a:lnTo>
                <a:lnTo>
                  <a:pt x="1127" y="124"/>
                </a:lnTo>
                <a:lnTo>
                  <a:pt x="1155" y="145"/>
                </a:lnTo>
                <a:lnTo>
                  <a:pt x="1184" y="165"/>
                </a:lnTo>
                <a:lnTo>
                  <a:pt x="1209" y="189"/>
                </a:lnTo>
                <a:lnTo>
                  <a:pt x="1234" y="212"/>
                </a:lnTo>
                <a:lnTo>
                  <a:pt x="1259" y="237"/>
                </a:lnTo>
                <a:lnTo>
                  <a:pt x="1281" y="264"/>
                </a:lnTo>
                <a:lnTo>
                  <a:pt x="1303" y="291"/>
                </a:lnTo>
                <a:lnTo>
                  <a:pt x="1323" y="319"/>
                </a:lnTo>
                <a:lnTo>
                  <a:pt x="1333" y="333"/>
                </a:lnTo>
                <a:lnTo>
                  <a:pt x="1342" y="349"/>
                </a:lnTo>
                <a:lnTo>
                  <a:pt x="1360" y="379"/>
                </a:lnTo>
                <a:lnTo>
                  <a:pt x="1375" y="410"/>
                </a:lnTo>
                <a:lnTo>
                  <a:pt x="1389" y="442"/>
                </a:lnTo>
                <a:lnTo>
                  <a:pt x="1396" y="457"/>
                </a:lnTo>
                <a:lnTo>
                  <a:pt x="1402" y="475"/>
                </a:lnTo>
                <a:lnTo>
                  <a:pt x="1413" y="508"/>
                </a:lnTo>
                <a:lnTo>
                  <a:pt x="1424" y="542"/>
                </a:lnTo>
                <a:lnTo>
                  <a:pt x="1427" y="560"/>
                </a:lnTo>
                <a:lnTo>
                  <a:pt x="1432" y="577"/>
                </a:lnTo>
                <a:lnTo>
                  <a:pt x="1435" y="596"/>
                </a:lnTo>
                <a:lnTo>
                  <a:pt x="1438" y="613"/>
                </a:lnTo>
                <a:lnTo>
                  <a:pt x="1440" y="632"/>
                </a:lnTo>
                <a:lnTo>
                  <a:pt x="1443" y="649"/>
                </a:lnTo>
                <a:lnTo>
                  <a:pt x="1444" y="668"/>
                </a:lnTo>
                <a:lnTo>
                  <a:pt x="1446" y="685"/>
                </a:lnTo>
                <a:lnTo>
                  <a:pt x="1446" y="704"/>
                </a:lnTo>
                <a:lnTo>
                  <a:pt x="1446" y="723"/>
                </a:lnTo>
                <a:lnTo>
                  <a:pt x="1446" y="761"/>
                </a:lnTo>
                <a:lnTo>
                  <a:pt x="1443" y="797"/>
                </a:lnTo>
                <a:lnTo>
                  <a:pt x="1440" y="816"/>
                </a:lnTo>
                <a:lnTo>
                  <a:pt x="1438" y="833"/>
                </a:lnTo>
                <a:lnTo>
                  <a:pt x="1432" y="869"/>
                </a:lnTo>
                <a:lnTo>
                  <a:pt x="1427" y="887"/>
                </a:lnTo>
                <a:lnTo>
                  <a:pt x="1424" y="904"/>
                </a:lnTo>
                <a:lnTo>
                  <a:pt x="1413" y="938"/>
                </a:lnTo>
                <a:lnTo>
                  <a:pt x="1402" y="972"/>
                </a:lnTo>
                <a:lnTo>
                  <a:pt x="1389" y="1005"/>
                </a:lnTo>
                <a:lnTo>
                  <a:pt x="1375" y="1038"/>
                </a:lnTo>
                <a:lnTo>
                  <a:pt x="1367" y="1053"/>
                </a:lnTo>
                <a:lnTo>
                  <a:pt x="1360" y="1067"/>
                </a:lnTo>
                <a:lnTo>
                  <a:pt x="1342" y="1099"/>
                </a:lnTo>
                <a:lnTo>
                  <a:pt x="1323" y="1127"/>
                </a:lnTo>
                <a:lnTo>
                  <a:pt x="1303" y="1155"/>
                </a:lnTo>
                <a:lnTo>
                  <a:pt x="1281" y="1184"/>
                </a:lnTo>
                <a:lnTo>
                  <a:pt x="1259" y="1209"/>
                </a:lnTo>
                <a:lnTo>
                  <a:pt x="1234" y="1234"/>
                </a:lnTo>
                <a:lnTo>
                  <a:pt x="1209" y="1259"/>
                </a:lnTo>
                <a:lnTo>
                  <a:pt x="1184" y="1281"/>
                </a:lnTo>
                <a:lnTo>
                  <a:pt x="1155" y="1303"/>
                </a:lnTo>
                <a:lnTo>
                  <a:pt x="1127" y="1324"/>
                </a:lnTo>
                <a:lnTo>
                  <a:pt x="1113" y="1333"/>
                </a:lnTo>
                <a:lnTo>
                  <a:pt x="1099" y="1342"/>
                </a:lnTo>
                <a:lnTo>
                  <a:pt x="1067" y="1360"/>
                </a:lnTo>
                <a:lnTo>
                  <a:pt x="1037" y="1376"/>
                </a:lnTo>
                <a:lnTo>
                  <a:pt x="1004" y="1390"/>
                </a:lnTo>
                <a:lnTo>
                  <a:pt x="989" y="1396"/>
                </a:lnTo>
                <a:lnTo>
                  <a:pt x="971" y="1402"/>
                </a:lnTo>
                <a:lnTo>
                  <a:pt x="938" y="1413"/>
                </a:lnTo>
                <a:lnTo>
                  <a:pt x="904" y="1424"/>
                </a:lnTo>
                <a:lnTo>
                  <a:pt x="886" y="1427"/>
                </a:lnTo>
                <a:lnTo>
                  <a:pt x="869" y="1432"/>
                </a:lnTo>
                <a:lnTo>
                  <a:pt x="852" y="1435"/>
                </a:lnTo>
                <a:lnTo>
                  <a:pt x="833" y="1438"/>
                </a:lnTo>
                <a:lnTo>
                  <a:pt x="816" y="1440"/>
                </a:lnTo>
                <a:lnTo>
                  <a:pt x="797" y="1443"/>
                </a:lnTo>
                <a:lnTo>
                  <a:pt x="780" y="1445"/>
                </a:lnTo>
                <a:lnTo>
                  <a:pt x="761" y="1446"/>
                </a:lnTo>
                <a:lnTo>
                  <a:pt x="742" y="1446"/>
                </a:lnTo>
                <a:lnTo>
                  <a:pt x="723" y="1446"/>
                </a:lnTo>
                <a:lnTo>
                  <a:pt x="685" y="1446"/>
                </a:lnTo>
                <a:lnTo>
                  <a:pt x="649" y="1443"/>
                </a:lnTo>
                <a:lnTo>
                  <a:pt x="632" y="1440"/>
                </a:lnTo>
                <a:lnTo>
                  <a:pt x="613" y="1438"/>
                </a:lnTo>
                <a:lnTo>
                  <a:pt x="577" y="1432"/>
                </a:lnTo>
                <a:lnTo>
                  <a:pt x="560" y="1427"/>
                </a:lnTo>
                <a:lnTo>
                  <a:pt x="542" y="1424"/>
                </a:lnTo>
                <a:lnTo>
                  <a:pt x="508" y="1413"/>
                </a:lnTo>
                <a:lnTo>
                  <a:pt x="475" y="1402"/>
                </a:lnTo>
                <a:lnTo>
                  <a:pt x="442" y="1390"/>
                </a:lnTo>
                <a:lnTo>
                  <a:pt x="410" y="1376"/>
                </a:lnTo>
                <a:lnTo>
                  <a:pt x="394" y="1368"/>
                </a:lnTo>
                <a:lnTo>
                  <a:pt x="379" y="1360"/>
                </a:lnTo>
                <a:lnTo>
                  <a:pt x="349" y="1342"/>
                </a:lnTo>
                <a:lnTo>
                  <a:pt x="319" y="1324"/>
                </a:lnTo>
                <a:lnTo>
                  <a:pt x="291" y="1303"/>
                </a:lnTo>
                <a:lnTo>
                  <a:pt x="264" y="1281"/>
                </a:lnTo>
                <a:lnTo>
                  <a:pt x="237" y="1259"/>
                </a:lnTo>
                <a:lnTo>
                  <a:pt x="212" y="1234"/>
                </a:lnTo>
                <a:lnTo>
                  <a:pt x="189" y="1209"/>
                </a:lnTo>
                <a:lnTo>
                  <a:pt x="165" y="1184"/>
                </a:lnTo>
                <a:lnTo>
                  <a:pt x="145" y="1155"/>
                </a:lnTo>
                <a:lnTo>
                  <a:pt x="124" y="1127"/>
                </a:lnTo>
                <a:lnTo>
                  <a:pt x="115" y="1113"/>
                </a:lnTo>
                <a:lnTo>
                  <a:pt x="105" y="1099"/>
                </a:lnTo>
                <a:lnTo>
                  <a:pt x="88" y="1067"/>
                </a:lnTo>
                <a:lnTo>
                  <a:pt x="71" y="1038"/>
                </a:lnTo>
                <a:lnTo>
                  <a:pt x="57" y="1005"/>
                </a:lnTo>
                <a:lnTo>
                  <a:pt x="50" y="989"/>
                </a:lnTo>
                <a:lnTo>
                  <a:pt x="44" y="972"/>
                </a:lnTo>
                <a:lnTo>
                  <a:pt x="33" y="938"/>
                </a:lnTo>
                <a:lnTo>
                  <a:pt x="24" y="904"/>
                </a:lnTo>
                <a:lnTo>
                  <a:pt x="19" y="887"/>
                </a:lnTo>
                <a:lnTo>
                  <a:pt x="14" y="869"/>
                </a:lnTo>
                <a:lnTo>
                  <a:pt x="11" y="852"/>
                </a:lnTo>
                <a:lnTo>
                  <a:pt x="8" y="833"/>
                </a:lnTo>
                <a:lnTo>
                  <a:pt x="6" y="816"/>
                </a:lnTo>
                <a:lnTo>
                  <a:pt x="3" y="797"/>
                </a:lnTo>
                <a:lnTo>
                  <a:pt x="2" y="780"/>
                </a:lnTo>
                <a:lnTo>
                  <a:pt x="2" y="761"/>
                </a:lnTo>
                <a:lnTo>
                  <a:pt x="0" y="742"/>
                </a:lnTo>
                <a:lnTo>
                  <a:pt x="0" y="723"/>
                </a:lnTo>
                <a:close/>
              </a:path>
            </a:pathLst>
          </a:cu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EYInterstate Light"/>
            </a:endParaRPr>
          </a:p>
        </p:txBody>
      </p:sp>
      <p:sp>
        <p:nvSpPr>
          <p:cNvPr id="55" name="Freeform 6">
            <a:extLst>
              <a:ext uri="{FF2B5EF4-FFF2-40B4-BE49-F238E27FC236}">
                <a16:creationId xmlns:a16="http://schemas.microsoft.com/office/drawing/2014/main" id="{5E3CAC0B-DAC4-63CB-7AC3-189A00CD7F06}"/>
              </a:ext>
            </a:extLst>
          </p:cNvPr>
          <p:cNvSpPr>
            <a:spLocks/>
          </p:cNvSpPr>
          <p:nvPr/>
        </p:nvSpPr>
        <p:spPr bwMode="gray">
          <a:xfrm flipV="1">
            <a:off x="6641306" y="1845610"/>
            <a:ext cx="2699866" cy="2699866"/>
          </a:xfrm>
          <a:custGeom>
            <a:avLst/>
            <a:gdLst>
              <a:gd name="T0" fmla="*/ 5711 w 1446"/>
              <a:gd name="T1" fmla="*/ 1235490 h 1446"/>
              <a:gd name="T2" fmla="*/ 26652 w 1446"/>
              <a:gd name="T3" fmla="*/ 1098425 h 1446"/>
              <a:gd name="T4" fmla="*/ 62822 w 1446"/>
              <a:gd name="T5" fmla="*/ 967071 h 1446"/>
              <a:gd name="T6" fmla="*/ 135161 w 1446"/>
              <a:gd name="T7" fmla="*/ 780510 h 1446"/>
              <a:gd name="T8" fmla="*/ 199887 w 1446"/>
              <a:gd name="T9" fmla="*/ 664385 h 1446"/>
              <a:gd name="T10" fmla="*/ 314108 w 1446"/>
              <a:gd name="T11" fmla="*/ 502572 h 1446"/>
              <a:gd name="T12" fmla="*/ 451173 w 1446"/>
              <a:gd name="T13" fmla="*/ 357892 h 1446"/>
              <a:gd name="T14" fmla="*/ 607275 w 1446"/>
              <a:gd name="T15" fmla="*/ 236057 h 1446"/>
              <a:gd name="T16" fmla="*/ 721496 w 1446"/>
              <a:gd name="T17" fmla="*/ 167524 h 1446"/>
              <a:gd name="T18" fmla="*/ 869983 w 1446"/>
              <a:gd name="T19" fmla="*/ 95184 h 1446"/>
              <a:gd name="T20" fmla="*/ 1031796 w 1446"/>
              <a:gd name="T21" fmla="*/ 43785 h 1446"/>
              <a:gd name="T22" fmla="*/ 1134595 w 1446"/>
              <a:gd name="T23" fmla="*/ 20941 h 1446"/>
              <a:gd name="T24" fmla="*/ 1235490 w 1446"/>
              <a:gd name="T25" fmla="*/ 5711 h 1446"/>
              <a:gd name="T26" fmla="*/ 1340193 w 1446"/>
              <a:gd name="T27" fmla="*/ 0 h 1446"/>
              <a:gd name="T28" fmla="*/ 1517235 w 1446"/>
              <a:gd name="T29" fmla="*/ 5711 h 1446"/>
              <a:gd name="T30" fmla="*/ 1654300 w 1446"/>
              <a:gd name="T31" fmla="*/ 26652 h 1446"/>
              <a:gd name="T32" fmla="*/ 1785654 w 1446"/>
              <a:gd name="T33" fmla="*/ 62822 h 1446"/>
              <a:gd name="T34" fmla="*/ 1974119 w 1446"/>
              <a:gd name="T35" fmla="*/ 133258 h 1446"/>
              <a:gd name="T36" fmla="*/ 2092147 w 1446"/>
              <a:gd name="T37" fmla="*/ 199887 h 1446"/>
              <a:gd name="T38" fmla="*/ 2253960 w 1446"/>
              <a:gd name="T39" fmla="*/ 314108 h 1446"/>
              <a:gd name="T40" fmla="*/ 2396736 w 1446"/>
              <a:gd name="T41" fmla="*/ 451173 h 1446"/>
              <a:gd name="T42" fmla="*/ 2518572 w 1446"/>
              <a:gd name="T43" fmla="*/ 607275 h 1446"/>
              <a:gd name="T44" fmla="*/ 2589008 w 1446"/>
              <a:gd name="T45" fmla="*/ 721496 h 1446"/>
              <a:gd name="T46" fmla="*/ 2657541 w 1446"/>
              <a:gd name="T47" fmla="*/ 869983 h 1446"/>
              <a:gd name="T48" fmla="*/ 2710844 w 1446"/>
              <a:gd name="T49" fmla="*/ 1031796 h 1446"/>
              <a:gd name="T50" fmla="*/ 2731784 w 1446"/>
              <a:gd name="T51" fmla="*/ 1134595 h 1446"/>
              <a:gd name="T52" fmla="*/ 2747014 w 1446"/>
              <a:gd name="T53" fmla="*/ 1235490 h 1446"/>
              <a:gd name="T54" fmla="*/ 2752725 w 1446"/>
              <a:gd name="T55" fmla="*/ 1340193 h 1446"/>
              <a:gd name="T56" fmla="*/ 2747014 w 1446"/>
              <a:gd name="T57" fmla="*/ 1517235 h 1446"/>
              <a:gd name="T58" fmla="*/ 2726073 w 1446"/>
              <a:gd name="T59" fmla="*/ 1654300 h 1446"/>
              <a:gd name="T60" fmla="*/ 2689903 w 1446"/>
              <a:gd name="T61" fmla="*/ 1785654 h 1446"/>
              <a:gd name="T62" fmla="*/ 2617564 w 1446"/>
              <a:gd name="T63" fmla="*/ 1974119 h 1446"/>
              <a:gd name="T64" fmla="*/ 2554742 w 1446"/>
              <a:gd name="T65" fmla="*/ 2092147 h 1446"/>
              <a:gd name="T66" fmla="*/ 2438617 w 1446"/>
              <a:gd name="T67" fmla="*/ 2252056 h 1446"/>
              <a:gd name="T68" fmla="*/ 2301552 w 1446"/>
              <a:gd name="T69" fmla="*/ 2396736 h 1446"/>
              <a:gd name="T70" fmla="*/ 2145450 w 1446"/>
              <a:gd name="T71" fmla="*/ 2518572 h 1446"/>
              <a:gd name="T72" fmla="*/ 2031229 w 1446"/>
              <a:gd name="T73" fmla="*/ 2589008 h 1446"/>
              <a:gd name="T74" fmla="*/ 1882742 w 1446"/>
              <a:gd name="T75" fmla="*/ 2657541 h 1446"/>
              <a:gd name="T76" fmla="*/ 1720929 w 1446"/>
              <a:gd name="T77" fmla="*/ 2710844 h 1446"/>
              <a:gd name="T78" fmla="*/ 1621938 w 1446"/>
              <a:gd name="T79" fmla="*/ 2731784 h 1446"/>
              <a:gd name="T80" fmla="*/ 1517235 w 1446"/>
              <a:gd name="T81" fmla="*/ 2747014 h 1446"/>
              <a:gd name="T82" fmla="*/ 1412532 w 1446"/>
              <a:gd name="T83" fmla="*/ 2752725 h 1446"/>
              <a:gd name="T84" fmla="*/ 1235490 w 1446"/>
              <a:gd name="T85" fmla="*/ 2747014 h 1446"/>
              <a:gd name="T86" fmla="*/ 1098425 w 1446"/>
              <a:gd name="T87" fmla="*/ 2726073 h 1446"/>
              <a:gd name="T88" fmla="*/ 967071 w 1446"/>
              <a:gd name="T89" fmla="*/ 2689903 h 1446"/>
              <a:gd name="T90" fmla="*/ 780510 w 1446"/>
              <a:gd name="T91" fmla="*/ 2617564 h 1446"/>
              <a:gd name="T92" fmla="*/ 664385 w 1446"/>
              <a:gd name="T93" fmla="*/ 2554742 h 1446"/>
              <a:gd name="T94" fmla="*/ 502572 w 1446"/>
              <a:gd name="T95" fmla="*/ 2438617 h 1446"/>
              <a:gd name="T96" fmla="*/ 359796 w 1446"/>
              <a:gd name="T97" fmla="*/ 2301552 h 1446"/>
              <a:gd name="T98" fmla="*/ 236057 w 1446"/>
              <a:gd name="T99" fmla="*/ 2145450 h 1446"/>
              <a:gd name="T100" fmla="*/ 167524 w 1446"/>
              <a:gd name="T101" fmla="*/ 2031229 h 1446"/>
              <a:gd name="T102" fmla="*/ 95184 w 1446"/>
              <a:gd name="T103" fmla="*/ 1882742 h 1446"/>
              <a:gd name="T104" fmla="*/ 45688 w 1446"/>
              <a:gd name="T105" fmla="*/ 1720929 h 1446"/>
              <a:gd name="T106" fmla="*/ 20941 w 1446"/>
              <a:gd name="T107" fmla="*/ 1621938 h 1446"/>
              <a:gd name="T108" fmla="*/ 5711 w 1446"/>
              <a:gd name="T109" fmla="*/ 1517235 h 1446"/>
              <a:gd name="T110" fmla="*/ 0 w 1446"/>
              <a:gd name="T111" fmla="*/ 1412532 h 14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6"/>
              <a:gd name="T169" fmla="*/ 0 h 1446"/>
              <a:gd name="T170" fmla="*/ 1446 w 1446"/>
              <a:gd name="T171" fmla="*/ 1446 h 14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6" h="1446">
                <a:moveTo>
                  <a:pt x="0" y="723"/>
                </a:moveTo>
                <a:lnTo>
                  <a:pt x="2" y="685"/>
                </a:lnTo>
                <a:lnTo>
                  <a:pt x="3" y="649"/>
                </a:lnTo>
                <a:lnTo>
                  <a:pt x="6" y="632"/>
                </a:lnTo>
                <a:lnTo>
                  <a:pt x="8" y="613"/>
                </a:lnTo>
                <a:lnTo>
                  <a:pt x="14" y="577"/>
                </a:lnTo>
                <a:lnTo>
                  <a:pt x="19" y="559"/>
                </a:lnTo>
                <a:lnTo>
                  <a:pt x="24" y="542"/>
                </a:lnTo>
                <a:lnTo>
                  <a:pt x="33" y="508"/>
                </a:lnTo>
                <a:lnTo>
                  <a:pt x="44" y="474"/>
                </a:lnTo>
                <a:lnTo>
                  <a:pt x="57" y="441"/>
                </a:lnTo>
                <a:lnTo>
                  <a:pt x="71" y="410"/>
                </a:lnTo>
                <a:lnTo>
                  <a:pt x="79" y="394"/>
                </a:lnTo>
                <a:lnTo>
                  <a:pt x="88" y="379"/>
                </a:lnTo>
                <a:lnTo>
                  <a:pt x="105" y="349"/>
                </a:lnTo>
                <a:lnTo>
                  <a:pt x="124" y="319"/>
                </a:lnTo>
                <a:lnTo>
                  <a:pt x="145" y="291"/>
                </a:lnTo>
                <a:lnTo>
                  <a:pt x="165" y="264"/>
                </a:lnTo>
                <a:lnTo>
                  <a:pt x="189" y="237"/>
                </a:lnTo>
                <a:lnTo>
                  <a:pt x="212" y="212"/>
                </a:lnTo>
                <a:lnTo>
                  <a:pt x="237" y="188"/>
                </a:lnTo>
                <a:lnTo>
                  <a:pt x="264" y="165"/>
                </a:lnTo>
                <a:lnTo>
                  <a:pt x="291" y="144"/>
                </a:lnTo>
                <a:lnTo>
                  <a:pt x="319" y="124"/>
                </a:lnTo>
                <a:lnTo>
                  <a:pt x="333" y="115"/>
                </a:lnTo>
                <a:lnTo>
                  <a:pt x="349" y="105"/>
                </a:lnTo>
                <a:lnTo>
                  <a:pt x="379" y="88"/>
                </a:lnTo>
                <a:lnTo>
                  <a:pt x="410" y="70"/>
                </a:lnTo>
                <a:lnTo>
                  <a:pt x="442" y="56"/>
                </a:lnTo>
                <a:lnTo>
                  <a:pt x="457" y="50"/>
                </a:lnTo>
                <a:lnTo>
                  <a:pt x="475" y="44"/>
                </a:lnTo>
                <a:lnTo>
                  <a:pt x="508" y="33"/>
                </a:lnTo>
                <a:lnTo>
                  <a:pt x="542" y="23"/>
                </a:lnTo>
                <a:lnTo>
                  <a:pt x="560" y="19"/>
                </a:lnTo>
                <a:lnTo>
                  <a:pt x="577" y="14"/>
                </a:lnTo>
                <a:lnTo>
                  <a:pt x="596" y="11"/>
                </a:lnTo>
                <a:lnTo>
                  <a:pt x="613" y="8"/>
                </a:lnTo>
                <a:lnTo>
                  <a:pt x="632" y="6"/>
                </a:lnTo>
                <a:lnTo>
                  <a:pt x="649" y="3"/>
                </a:lnTo>
                <a:lnTo>
                  <a:pt x="668" y="1"/>
                </a:lnTo>
                <a:lnTo>
                  <a:pt x="685" y="1"/>
                </a:lnTo>
                <a:lnTo>
                  <a:pt x="704" y="0"/>
                </a:lnTo>
                <a:lnTo>
                  <a:pt x="723" y="0"/>
                </a:lnTo>
                <a:lnTo>
                  <a:pt x="761" y="1"/>
                </a:lnTo>
                <a:lnTo>
                  <a:pt x="797" y="3"/>
                </a:lnTo>
                <a:lnTo>
                  <a:pt x="816" y="6"/>
                </a:lnTo>
                <a:lnTo>
                  <a:pt x="833" y="8"/>
                </a:lnTo>
                <a:lnTo>
                  <a:pt x="869" y="14"/>
                </a:lnTo>
                <a:lnTo>
                  <a:pt x="886" y="19"/>
                </a:lnTo>
                <a:lnTo>
                  <a:pt x="904" y="23"/>
                </a:lnTo>
                <a:lnTo>
                  <a:pt x="938" y="33"/>
                </a:lnTo>
                <a:lnTo>
                  <a:pt x="971" y="44"/>
                </a:lnTo>
                <a:lnTo>
                  <a:pt x="1004" y="56"/>
                </a:lnTo>
                <a:lnTo>
                  <a:pt x="1037" y="70"/>
                </a:lnTo>
                <a:lnTo>
                  <a:pt x="1053" y="78"/>
                </a:lnTo>
                <a:lnTo>
                  <a:pt x="1067" y="88"/>
                </a:lnTo>
                <a:lnTo>
                  <a:pt x="1099" y="105"/>
                </a:lnTo>
                <a:lnTo>
                  <a:pt x="1127" y="124"/>
                </a:lnTo>
                <a:lnTo>
                  <a:pt x="1155" y="144"/>
                </a:lnTo>
                <a:lnTo>
                  <a:pt x="1184" y="165"/>
                </a:lnTo>
                <a:lnTo>
                  <a:pt x="1209" y="188"/>
                </a:lnTo>
                <a:lnTo>
                  <a:pt x="1234" y="212"/>
                </a:lnTo>
                <a:lnTo>
                  <a:pt x="1259" y="237"/>
                </a:lnTo>
                <a:lnTo>
                  <a:pt x="1281" y="264"/>
                </a:lnTo>
                <a:lnTo>
                  <a:pt x="1303" y="291"/>
                </a:lnTo>
                <a:lnTo>
                  <a:pt x="1323" y="319"/>
                </a:lnTo>
                <a:lnTo>
                  <a:pt x="1333" y="333"/>
                </a:lnTo>
                <a:lnTo>
                  <a:pt x="1342" y="349"/>
                </a:lnTo>
                <a:lnTo>
                  <a:pt x="1360" y="379"/>
                </a:lnTo>
                <a:lnTo>
                  <a:pt x="1375" y="410"/>
                </a:lnTo>
                <a:lnTo>
                  <a:pt x="1389" y="441"/>
                </a:lnTo>
                <a:lnTo>
                  <a:pt x="1396" y="457"/>
                </a:lnTo>
                <a:lnTo>
                  <a:pt x="1402" y="474"/>
                </a:lnTo>
                <a:lnTo>
                  <a:pt x="1413" y="508"/>
                </a:lnTo>
                <a:lnTo>
                  <a:pt x="1424" y="542"/>
                </a:lnTo>
                <a:lnTo>
                  <a:pt x="1427" y="559"/>
                </a:lnTo>
                <a:lnTo>
                  <a:pt x="1432" y="577"/>
                </a:lnTo>
                <a:lnTo>
                  <a:pt x="1435" y="596"/>
                </a:lnTo>
                <a:lnTo>
                  <a:pt x="1438" y="613"/>
                </a:lnTo>
                <a:lnTo>
                  <a:pt x="1440" y="632"/>
                </a:lnTo>
                <a:lnTo>
                  <a:pt x="1443" y="649"/>
                </a:lnTo>
                <a:lnTo>
                  <a:pt x="1444" y="668"/>
                </a:lnTo>
                <a:lnTo>
                  <a:pt x="1446" y="685"/>
                </a:lnTo>
                <a:lnTo>
                  <a:pt x="1446" y="704"/>
                </a:lnTo>
                <a:lnTo>
                  <a:pt x="1446" y="723"/>
                </a:lnTo>
                <a:lnTo>
                  <a:pt x="1446" y="761"/>
                </a:lnTo>
                <a:lnTo>
                  <a:pt x="1443" y="797"/>
                </a:lnTo>
                <a:lnTo>
                  <a:pt x="1440" y="816"/>
                </a:lnTo>
                <a:lnTo>
                  <a:pt x="1438" y="833"/>
                </a:lnTo>
                <a:lnTo>
                  <a:pt x="1432" y="869"/>
                </a:lnTo>
                <a:lnTo>
                  <a:pt x="1427" y="886"/>
                </a:lnTo>
                <a:lnTo>
                  <a:pt x="1424" y="904"/>
                </a:lnTo>
                <a:lnTo>
                  <a:pt x="1413" y="938"/>
                </a:lnTo>
                <a:lnTo>
                  <a:pt x="1402" y="971"/>
                </a:lnTo>
                <a:lnTo>
                  <a:pt x="1389" y="1004"/>
                </a:lnTo>
                <a:lnTo>
                  <a:pt x="1375" y="1037"/>
                </a:lnTo>
                <a:lnTo>
                  <a:pt x="1367" y="1053"/>
                </a:lnTo>
                <a:lnTo>
                  <a:pt x="1360" y="1067"/>
                </a:lnTo>
                <a:lnTo>
                  <a:pt x="1342" y="1099"/>
                </a:lnTo>
                <a:lnTo>
                  <a:pt x="1323" y="1127"/>
                </a:lnTo>
                <a:lnTo>
                  <a:pt x="1303" y="1155"/>
                </a:lnTo>
                <a:lnTo>
                  <a:pt x="1281" y="1183"/>
                </a:lnTo>
                <a:lnTo>
                  <a:pt x="1259" y="1209"/>
                </a:lnTo>
                <a:lnTo>
                  <a:pt x="1234" y="1234"/>
                </a:lnTo>
                <a:lnTo>
                  <a:pt x="1209" y="1259"/>
                </a:lnTo>
                <a:lnTo>
                  <a:pt x="1184" y="1281"/>
                </a:lnTo>
                <a:lnTo>
                  <a:pt x="1155" y="1303"/>
                </a:lnTo>
                <a:lnTo>
                  <a:pt x="1127" y="1323"/>
                </a:lnTo>
                <a:lnTo>
                  <a:pt x="1113" y="1333"/>
                </a:lnTo>
                <a:lnTo>
                  <a:pt x="1099" y="1342"/>
                </a:lnTo>
                <a:lnTo>
                  <a:pt x="1067" y="1360"/>
                </a:lnTo>
                <a:lnTo>
                  <a:pt x="1037" y="1375"/>
                </a:lnTo>
                <a:lnTo>
                  <a:pt x="1004" y="1389"/>
                </a:lnTo>
                <a:lnTo>
                  <a:pt x="989" y="1396"/>
                </a:lnTo>
                <a:lnTo>
                  <a:pt x="971" y="1402"/>
                </a:lnTo>
                <a:lnTo>
                  <a:pt x="938" y="1413"/>
                </a:lnTo>
                <a:lnTo>
                  <a:pt x="904" y="1424"/>
                </a:lnTo>
                <a:lnTo>
                  <a:pt x="886" y="1427"/>
                </a:lnTo>
                <a:lnTo>
                  <a:pt x="869" y="1432"/>
                </a:lnTo>
                <a:lnTo>
                  <a:pt x="852" y="1435"/>
                </a:lnTo>
                <a:lnTo>
                  <a:pt x="833" y="1438"/>
                </a:lnTo>
                <a:lnTo>
                  <a:pt x="816" y="1440"/>
                </a:lnTo>
                <a:lnTo>
                  <a:pt x="797" y="1443"/>
                </a:lnTo>
                <a:lnTo>
                  <a:pt x="780" y="1444"/>
                </a:lnTo>
                <a:lnTo>
                  <a:pt x="761" y="1446"/>
                </a:lnTo>
                <a:lnTo>
                  <a:pt x="742" y="1446"/>
                </a:lnTo>
                <a:lnTo>
                  <a:pt x="723" y="1446"/>
                </a:lnTo>
                <a:lnTo>
                  <a:pt x="685" y="1446"/>
                </a:lnTo>
                <a:lnTo>
                  <a:pt x="649" y="1443"/>
                </a:lnTo>
                <a:lnTo>
                  <a:pt x="632" y="1440"/>
                </a:lnTo>
                <a:lnTo>
                  <a:pt x="613" y="1438"/>
                </a:lnTo>
                <a:lnTo>
                  <a:pt x="577" y="1432"/>
                </a:lnTo>
                <a:lnTo>
                  <a:pt x="560" y="1427"/>
                </a:lnTo>
                <a:lnTo>
                  <a:pt x="542" y="1424"/>
                </a:lnTo>
                <a:lnTo>
                  <a:pt x="508" y="1413"/>
                </a:lnTo>
                <a:lnTo>
                  <a:pt x="475" y="1402"/>
                </a:lnTo>
                <a:lnTo>
                  <a:pt x="442" y="1389"/>
                </a:lnTo>
                <a:lnTo>
                  <a:pt x="410" y="1375"/>
                </a:lnTo>
                <a:lnTo>
                  <a:pt x="394" y="1367"/>
                </a:lnTo>
                <a:lnTo>
                  <a:pt x="379" y="1360"/>
                </a:lnTo>
                <a:lnTo>
                  <a:pt x="349" y="1342"/>
                </a:lnTo>
                <a:lnTo>
                  <a:pt x="319" y="1323"/>
                </a:lnTo>
                <a:lnTo>
                  <a:pt x="291" y="1303"/>
                </a:lnTo>
                <a:lnTo>
                  <a:pt x="264" y="1281"/>
                </a:lnTo>
                <a:lnTo>
                  <a:pt x="237" y="1259"/>
                </a:lnTo>
                <a:lnTo>
                  <a:pt x="212" y="1234"/>
                </a:lnTo>
                <a:lnTo>
                  <a:pt x="189" y="1209"/>
                </a:lnTo>
                <a:lnTo>
                  <a:pt x="165" y="1183"/>
                </a:lnTo>
                <a:lnTo>
                  <a:pt x="145" y="1155"/>
                </a:lnTo>
                <a:lnTo>
                  <a:pt x="124" y="1127"/>
                </a:lnTo>
                <a:lnTo>
                  <a:pt x="115" y="1113"/>
                </a:lnTo>
                <a:lnTo>
                  <a:pt x="105" y="1099"/>
                </a:lnTo>
                <a:lnTo>
                  <a:pt x="88" y="1067"/>
                </a:lnTo>
                <a:lnTo>
                  <a:pt x="71" y="1037"/>
                </a:lnTo>
                <a:lnTo>
                  <a:pt x="57" y="1004"/>
                </a:lnTo>
                <a:lnTo>
                  <a:pt x="50" y="989"/>
                </a:lnTo>
                <a:lnTo>
                  <a:pt x="44" y="971"/>
                </a:lnTo>
                <a:lnTo>
                  <a:pt x="33" y="938"/>
                </a:lnTo>
                <a:lnTo>
                  <a:pt x="24" y="904"/>
                </a:lnTo>
                <a:lnTo>
                  <a:pt x="19" y="886"/>
                </a:lnTo>
                <a:lnTo>
                  <a:pt x="14" y="869"/>
                </a:lnTo>
                <a:lnTo>
                  <a:pt x="11" y="852"/>
                </a:lnTo>
                <a:lnTo>
                  <a:pt x="8" y="833"/>
                </a:lnTo>
                <a:lnTo>
                  <a:pt x="6" y="816"/>
                </a:lnTo>
                <a:lnTo>
                  <a:pt x="3" y="797"/>
                </a:lnTo>
                <a:lnTo>
                  <a:pt x="2" y="779"/>
                </a:lnTo>
                <a:lnTo>
                  <a:pt x="2" y="761"/>
                </a:lnTo>
                <a:lnTo>
                  <a:pt x="0" y="742"/>
                </a:lnTo>
                <a:lnTo>
                  <a:pt x="0" y="723"/>
                </a:lnTo>
                <a:close/>
              </a:path>
            </a:pathLst>
          </a:cu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6" name="Freeform 7">
            <a:extLst>
              <a:ext uri="{FF2B5EF4-FFF2-40B4-BE49-F238E27FC236}">
                <a16:creationId xmlns:a16="http://schemas.microsoft.com/office/drawing/2014/main" id="{C3F5C61F-5420-2FC4-F8BE-D155B7139518}"/>
              </a:ext>
            </a:extLst>
          </p:cNvPr>
          <p:cNvSpPr>
            <a:spLocks/>
          </p:cNvSpPr>
          <p:nvPr/>
        </p:nvSpPr>
        <p:spPr bwMode="gray">
          <a:xfrm flipV="1">
            <a:off x="7719218" y="3498197"/>
            <a:ext cx="1611512" cy="1079013"/>
          </a:xfrm>
          <a:custGeom>
            <a:avLst/>
            <a:gdLst>
              <a:gd name="T0" fmla="*/ 36174 w 863"/>
              <a:gd name="T1" fmla="*/ 26647 h 578"/>
              <a:gd name="T2" fmla="*/ 146600 w 863"/>
              <a:gd name="T3" fmla="*/ 7613 h 578"/>
              <a:gd name="T4" fmla="*/ 220852 w 863"/>
              <a:gd name="T5" fmla="*/ 1903 h 578"/>
              <a:gd name="T6" fmla="*/ 361740 w 863"/>
              <a:gd name="T7" fmla="*/ 1903 h 578"/>
              <a:gd name="T8" fmla="*/ 481686 w 863"/>
              <a:gd name="T9" fmla="*/ 11420 h 578"/>
              <a:gd name="T10" fmla="*/ 597823 w 863"/>
              <a:gd name="T11" fmla="*/ 32357 h 578"/>
              <a:gd name="T12" fmla="*/ 708249 w 863"/>
              <a:gd name="T13" fmla="*/ 62811 h 578"/>
              <a:gd name="T14" fmla="*/ 818675 w 863"/>
              <a:gd name="T15" fmla="*/ 100878 h 578"/>
              <a:gd name="T16" fmla="*/ 925293 w 863"/>
              <a:gd name="T17" fmla="*/ 148462 h 578"/>
              <a:gd name="T18" fmla="*/ 1022392 w 863"/>
              <a:gd name="T19" fmla="*/ 205562 h 578"/>
              <a:gd name="T20" fmla="*/ 1071893 w 863"/>
              <a:gd name="T21" fmla="*/ 236016 h 578"/>
              <a:gd name="T22" fmla="*/ 1163280 w 863"/>
              <a:gd name="T23" fmla="*/ 304536 h 578"/>
              <a:gd name="T24" fmla="*/ 1247052 w 863"/>
              <a:gd name="T25" fmla="*/ 378767 h 578"/>
              <a:gd name="T26" fmla="*/ 1328919 w 863"/>
              <a:gd name="T27" fmla="*/ 460611 h 578"/>
              <a:gd name="T28" fmla="*/ 1399363 w 863"/>
              <a:gd name="T29" fmla="*/ 550069 h 578"/>
              <a:gd name="T30" fmla="*/ 1466000 w 863"/>
              <a:gd name="T31" fmla="*/ 643333 h 578"/>
              <a:gd name="T32" fmla="*/ 1523117 w 863"/>
              <a:gd name="T33" fmla="*/ 742308 h 578"/>
              <a:gd name="T34" fmla="*/ 1570714 w 863"/>
              <a:gd name="T35" fmla="*/ 846992 h 578"/>
              <a:gd name="T36" fmla="*/ 1608792 w 863"/>
              <a:gd name="T37" fmla="*/ 953580 h 578"/>
              <a:gd name="T38" fmla="*/ 1643062 w 863"/>
              <a:gd name="T39" fmla="*/ 1067781 h 578"/>
              <a:gd name="T40" fmla="*/ 1566906 w 863"/>
              <a:gd name="T41" fmla="*/ 1083008 h 578"/>
              <a:gd name="T42" fmla="*/ 1456480 w 863"/>
              <a:gd name="T43" fmla="*/ 1098235 h 578"/>
              <a:gd name="T44" fmla="*/ 1340343 w 863"/>
              <a:gd name="T45" fmla="*/ 1100138 h 578"/>
              <a:gd name="T46" fmla="*/ 1220397 w 863"/>
              <a:gd name="T47" fmla="*/ 1094428 h 578"/>
              <a:gd name="T48" fmla="*/ 1100452 w 863"/>
              <a:gd name="T49" fmla="*/ 1079201 h 578"/>
              <a:gd name="T50" fmla="*/ 988122 w 863"/>
              <a:gd name="T51" fmla="*/ 1056361 h 578"/>
              <a:gd name="T52" fmla="*/ 873888 w 863"/>
              <a:gd name="T53" fmla="*/ 1020197 h 578"/>
              <a:gd name="T54" fmla="*/ 769174 w 863"/>
              <a:gd name="T55" fmla="*/ 978323 h 578"/>
              <a:gd name="T56" fmla="*/ 664460 w 863"/>
              <a:gd name="T57" fmla="*/ 925030 h 578"/>
              <a:gd name="T58" fmla="*/ 592112 w 863"/>
              <a:gd name="T59" fmla="*/ 879349 h 578"/>
              <a:gd name="T60" fmla="*/ 523571 w 863"/>
              <a:gd name="T61" fmla="*/ 831765 h 578"/>
              <a:gd name="T62" fmla="*/ 434088 w 863"/>
              <a:gd name="T63" fmla="*/ 759438 h 578"/>
              <a:gd name="T64" fmla="*/ 350317 w 863"/>
              <a:gd name="T65" fmla="*/ 681400 h 578"/>
              <a:gd name="T66" fmla="*/ 274161 w 863"/>
              <a:gd name="T67" fmla="*/ 595749 h 578"/>
              <a:gd name="T68" fmla="*/ 205621 w 863"/>
              <a:gd name="T69" fmla="*/ 504389 h 578"/>
              <a:gd name="T70" fmla="*/ 146600 w 863"/>
              <a:gd name="T71" fmla="*/ 409221 h 578"/>
              <a:gd name="T72" fmla="*/ 93291 w 863"/>
              <a:gd name="T73" fmla="*/ 308343 h 578"/>
              <a:gd name="T74" fmla="*/ 47597 w 863"/>
              <a:gd name="T75" fmla="*/ 199852 h 578"/>
              <a:gd name="T76" fmla="*/ 11423 w 863"/>
              <a:gd name="T77" fmla="*/ 89458 h 57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63"/>
              <a:gd name="T118" fmla="*/ 0 h 578"/>
              <a:gd name="T119" fmla="*/ 863 w 863"/>
              <a:gd name="T120" fmla="*/ 578 h 57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63" h="578">
                <a:moveTo>
                  <a:pt x="0" y="17"/>
                </a:moveTo>
                <a:lnTo>
                  <a:pt x="19" y="14"/>
                </a:lnTo>
                <a:lnTo>
                  <a:pt x="38" y="9"/>
                </a:lnTo>
                <a:lnTo>
                  <a:pt x="77" y="4"/>
                </a:lnTo>
                <a:lnTo>
                  <a:pt x="97" y="3"/>
                </a:lnTo>
                <a:lnTo>
                  <a:pt x="116" y="1"/>
                </a:lnTo>
                <a:lnTo>
                  <a:pt x="157" y="0"/>
                </a:lnTo>
                <a:lnTo>
                  <a:pt x="190" y="1"/>
                </a:lnTo>
                <a:lnTo>
                  <a:pt x="221" y="3"/>
                </a:lnTo>
                <a:lnTo>
                  <a:pt x="253" y="6"/>
                </a:lnTo>
                <a:lnTo>
                  <a:pt x="283" y="11"/>
                </a:lnTo>
                <a:lnTo>
                  <a:pt x="314" y="17"/>
                </a:lnTo>
                <a:lnTo>
                  <a:pt x="344" y="25"/>
                </a:lnTo>
                <a:lnTo>
                  <a:pt x="372" y="33"/>
                </a:lnTo>
                <a:lnTo>
                  <a:pt x="402" y="42"/>
                </a:lnTo>
                <a:lnTo>
                  <a:pt x="430" y="53"/>
                </a:lnTo>
                <a:lnTo>
                  <a:pt x="459" y="66"/>
                </a:lnTo>
                <a:lnTo>
                  <a:pt x="486" y="78"/>
                </a:lnTo>
                <a:lnTo>
                  <a:pt x="512" y="92"/>
                </a:lnTo>
                <a:lnTo>
                  <a:pt x="537" y="108"/>
                </a:lnTo>
                <a:lnTo>
                  <a:pt x="550" y="116"/>
                </a:lnTo>
                <a:lnTo>
                  <a:pt x="563" y="124"/>
                </a:lnTo>
                <a:lnTo>
                  <a:pt x="588" y="141"/>
                </a:lnTo>
                <a:lnTo>
                  <a:pt x="611" y="160"/>
                </a:lnTo>
                <a:lnTo>
                  <a:pt x="633" y="179"/>
                </a:lnTo>
                <a:lnTo>
                  <a:pt x="655" y="199"/>
                </a:lnTo>
                <a:lnTo>
                  <a:pt x="677" y="220"/>
                </a:lnTo>
                <a:lnTo>
                  <a:pt x="698" y="242"/>
                </a:lnTo>
                <a:lnTo>
                  <a:pt x="717" y="265"/>
                </a:lnTo>
                <a:lnTo>
                  <a:pt x="735" y="289"/>
                </a:lnTo>
                <a:lnTo>
                  <a:pt x="753" y="313"/>
                </a:lnTo>
                <a:lnTo>
                  <a:pt x="770" y="338"/>
                </a:lnTo>
                <a:lnTo>
                  <a:pt x="784" y="363"/>
                </a:lnTo>
                <a:lnTo>
                  <a:pt x="800" y="390"/>
                </a:lnTo>
                <a:lnTo>
                  <a:pt x="812" y="416"/>
                </a:lnTo>
                <a:lnTo>
                  <a:pt x="825" y="445"/>
                </a:lnTo>
                <a:lnTo>
                  <a:pt x="836" y="473"/>
                </a:lnTo>
                <a:lnTo>
                  <a:pt x="845" y="501"/>
                </a:lnTo>
                <a:lnTo>
                  <a:pt x="855" y="531"/>
                </a:lnTo>
                <a:lnTo>
                  <a:pt x="863" y="561"/>
                </a:lnTo>
                <a:lnTo>
                  <a:pt x="842" y="566"/>
                </a:lnTo>
                <a:lnTo>
                  <a:pt x="823" y="569"/>
                </a:lnTo>
                <a:lnTo>
                  <a:pt x="784" y="574"/>
                </a:lnTo>
                <a:lnTo>
                  <a:pt x="765" y="577"/>
                </a:lnTo>
                <a:lnTo>
                  <a:pt x="745" y="577"/>
                </a:lnTo>
                <a:lnTo>
                  <a:pt x="704" y="578"/>
                </a:lnTo>
                <a:lnTo>
                  <a:pt x="673" y="578"/>
                </a:lnTo>
                <a:lnTo>
                  <a:pt x="641" y="575"/>
                </a:lnTo>
                <a:lnTo>
                  <a:pt x="610" y="572"/>
                </a:lnTo>
                <a:lnTo>
                  <a:pt x="578" y="567"/>
                </a:lnTo>
                <a:lnTo>
                  <a:pt x="548" y="561"/>
                </a:lnTo>
                <a:lnTo>
                  <a:pt x="519" y="555"/>
                </a:lnTo>
                <a:lnTo>
                  <a:pt x="489" y="545"/>
                </a:lnTo>
                <a:lnTo>
                  <a:pt x="459" y="536"/>
                </a:lnTo>
                <a:lnTo>
                  <a:pt x="430" y="525"/>
                </a:lnTo>
                <a:lnTo>
                  <a:pt x="404" y="514"/>
                </a:lnTo>
                <a:lnTo>
                  <a:pt x="375" y="500"/>
                </a:lnTo>
                <a:lnTo>
                  <a:pt x="349" y="486"/>
                </a:lnTo>
                <a:lnTo>
                  <a:pt x="324" y="470"/>
                </a:lnTo>
                <a:lnTo>
                  <a:pt x="311" y="462"/>
                </a:lnTo>
                <a:lnTo>
                  <a:pt x="298" y="454"/>
                </a:lnTo>
                <a:lnTo>
                  <a:pt x="275" y="437"/>
                </a:lnTo>
                <a:lnTo>
                  <a:pt x="250" y="418"/>
                </a:lnTo>
                <a:lnTo>
                  <a:pt x="228" y="399"/>
                </a:lnTo>
                <a:lnTo>
                  <a:pt x="206" y="379"/>
                </a:lnTo>
                <a:lnTo>
                  <a:pt x="184" y="358"/>
                </a:lnTo>
                <a:lnTo>
                  <a:pt x="163" y="336"/>
                </a:lnTo>
                <a:lnTo>
                  <a:pt x="144" y="313"/>
                </a:lnTo>
                <a:lnTo>
                  <a:pt x="126" y="291"/>
                </a:lnTo>
                <a:lnTo>
                  <a:pt x="108" y="265"/>
                </a:lnTo>
                <a:lnTo>
                  <a:pt x="93" y="240"/>
                </a:lnTo>
                <a:lnTo>
                  <a:pt x="77" y="215"/>
                </a:lnTo>
                <a:lnTo>
                  <a:pt x="63" y="188"/>
                </a:lnTo>
                <a:lnTo>
                  <a:pt x="49" y="162"/>
                </a:lnTo>
                <a:lnTo>
                  <a:pt x="36" y="133"/>
                </a:lnTo>
                <a:lnTo>
                  <a:pt x="25" y="105"/>
                </a:lnTo>
                <a:lnTo>
                  <a:pt x="16" y="77"/>
                </a:lnTo>
                <a:lnTo>
                  <a:pt x="6" y="47"/>
                </a:lnTo>
                <a:lnTo>
                  <a:pt x="0" y="17"/>
                </a:lnTo>
                <a:close/>
              </a:path>
            </a:pathLst>
          </a:custGeom>
          <a:solidFill>
            <a:srgbClr val="2E2E38">
              <a:lumMod val="40000"/>
              <a:lumOff val="60000"/>
            </a:srgbClr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7" name="Freeform 8">
            <a:extLst>
              <a:ext uri="{FF2B5EF4-FFF2-40B4-BE49-F238E27FC236}">
                <a16:creationId xmlns:a16="http://schemas.microsoft.com/office/drawing/2014/main" id="{FD4603C4-EAB7-CDA3-1E86-3156520E74C5}"/>
              </a:ext>
            </a:extLst>
          </p:cNvPr>
          <p:cNvSpPr>
            <a:spLocks/>
          </p:cNvSpPr>
          <p:nvPr/>
        </p:nvSpPr>
        <p:spPr bwMode="gray">
          <a:xfrm flipV="1">
            <a:off x="6677818" y="3498197"/>
            <a:ext cx="1611512" cy="1079013"/>
          </a:xfrm>
          <a:custGeom>
            <a:avLst/>
            <a:gdLst>
              <a:gd name="T0" fmla="*/ 11423 w 863"/>
              <a:gd name="T1" fmla="*/ 1010680 h 578"/>
              <a:gd name="T2" fmla="*/ 47597 w 863"/>
              <a:gd name="T3" fmla="*/ 900286 h 578"/>
              <a:gd name="T4" fmla="*/ 93291 w 863"/>
              <a:gd name="T5" fmla="*/ 791795 h 578"/>
              <a:gd name="T6" fmla="*/ 146600 w 863"/>
              <a:gd name="T7" fmla="*/ 690917 h 578"/>
              <a:gd name="T8" fmla="*/ 205621 w 863"/>
              <a:gd name="T9" fmla="*/ 595749 h 578"/>
              <a:gd name="T10" fmla="*/ 239891 w 863"/>
              <a:gd name="T11" fmla="*/ 550069 h 578"/>
              <a:gd name="T12" fmla="*/ 310335 w 863"/>
              <a:gd name="T13" fmla="*/ 460611 h 578"/>
              <a:gd name="T14" fmla="*/ 392203 w 863"/>
              <a:gd name="T15" fmla="*/ 378767 h 578"/>
              <a:gd name="T16" fmla="*/ 475974 w 863"/>
              <a:gd name="T17" fmla="*/ 304536 h 578"/>
              <a:gd name="T18" fmla="*/ 567361 w 863"/>
              <a:gd name="T19" fmla="*/ 236016 h 578"/>
              <a:gd name="T20" fmla="*/ 664460 w 863"/>
              <a:gd name="T21" fmla="*/ 175108 h 578"/>
              <a:gd name="T22" fmla="*/ 713961 w 863"/>
              <a:gd name="T23" fmla="*/ 148462 h 578"/>
              <a:gd name="T24" fmla="*/ 820579 w 863"/>
              <a:gd name="T25" fmla="*/ 100878 h 578"/>
              <a:gd name="T26" fmla="*/ 931005 w 863"/>
              <a:gd name="T27" fmla="*/ 62811 h 578"/>
              <a:gd name="T28" fmla="*/ 1043335 w 863"/>
              <a:gd name="T29" fmla="*/ 32357 h 578"/>
              <a:gd name="T30" fmla="*/ 1130914 w 863"/>
              <a:gd name="T31" fmla="*/ 15227 h 578"/>
              <a:gd name="T32" fmla="*/ 1220397 w 863"/>
              <a:gd name="T33" fmla="*/ 5710 h 578"/>
              <a:gd name="T34" fmla="*/ 1340343 w 863"/>
              <a:gd name="T35" fmla="*/ 0 h 578"/>
              <a:gd name="T36" fmla="*/ 1492654 w 863"/>
              <a:gd name="T37" fmla="*/ 7613 h 578"/>
              <a:gd name="T38" fmla="*/ 1566906 w 863"/>
              <a:gd name="T39" fmla="*/ 17130 h 578"/>
              <a:gd name="T40" fmla="*/ 1643062 w 863"/>
              <a:gd name="T41" fmla="*/ 32357 h 578"/>
              <a:gd name="T42" fmla="*/ 1608792 w 863"/>
              <a:gd name="T43" fmla="*/ 146558 h 578"/>
              <a:gd name="T44" fmla="*/ 1570714 w 863"/>
              <a:gd name="T45" fmla="*/ 253146 h 578"/>
              <a:gd name="T46" fmla="*/ 1523117 w 863"/>
              <a:gd name="T47" fmla="*/ 357830 h 578"/>
              <a:gd name="T48" fmla="*/ 1466000 w 863"/>
              <a:gd name="T49" fmla="*/ 456805 h 578"/>
              <a:gd name="T50" fmla="*/ 1418402 w 863"/>
              <a:gd name="T51" fmla="*/ 529132 h 578"/>
              <a:gd name="T52" fmla="*/ 1365093 w 863"/>
              <a:gd name="T53" fmla="*/ 595749 h 578"/>
              <a:gd name="T54" fmla="*/ 1288937 w 863"/>
              <a:gd name="T55" fmla="*/ 681400 h 578"/>
              <a:gd name="T56" fmla="*/ 1205166 w 863"/>
              <a:gd name="T57" fmla="*/ 759438 h 578"/>
              <a:gd name="T58" fmla="*/ 1119491 w 863"/>
              <a:gd name="T59" fmla="*/ 831765 h 578"/>
              <a:gd name="T60" fmla="*/ 1022392 w 863"/>
              <a:gd name="T61" fmla="*/ 894576 h 578"/>
              <a:gd name="T62" fmla="*/ 948140 w 863"/>
              <a:gd name="T63" fmla="*/ 938353 h 578"/>
              <a:gd name="T64" fmla="*/ 873888 w 863"/>
              <a:gd name="T65" fmla="*/ 978323 h 578"/>
              <a:gd name="T66" fmla="*/ 765366 w 863"/>
              <a:gd name="T67" fmla="*/ 1020197 h 578"/>
              <a:gd name="T68" fmla="*/ 654940 w 863"/>
              <a:gd name="T69" fmla="*/ 1056361 h 578"/>
              <a:gd name="T70" fmla="*/ 538802 w 863"/>
              <a:gd name="T71" fmla="*/ 1079201 h 578"/>
              <a:gd name="T72" fmla="*/ 481686 w 863"/>
              <a:gd name="T73" fmla="*/ 1088718 h 578"/>
              <a:gd name="T74" fmla="*/ 361740 w 863"/>
              <a:gd name="T75" fmla="*/ 1100138 h 578"/>
              <a:gd name="T76" fmla="*/ 220852 w 863"/>
              <a:gd name="T77" fmla="*/ 1098235 h 578"/>
              <a:gd name="T78" fmla="*/ 110426 w 863"/>
              <a:gd name="T79" fmla="*/ 1088718 h 578"/>
              <a:gd name="T80" fmla="*/ 36174 w 863"/>
              <a:gd name="T81" fmla="*/ 1077298 h 57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863"/>
              <a:gd name="T124" fmla="*/ 0 h 578"/>
              <a:gd name="T125" fmla="*/ 863 w 863"/>
              <a:gd name="T126" fmla="*/ 578 h 57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863" h="578">
                <a:moveTo>
                  <a:pt x="0" y="561"/>
                </a:moveTo>
                <a:lnTo>
                  <a:pt x="6" y="531"/>
                </a:lnTo>
                <a:lnTo>
                  <a:pt x="16" y="501"/>
                </a:lnTo>
                <a:lnTo>
                  <a:pt x="25" y="473"/>
                </a:lnTo>
                <a:lnTo>
                  <a:pt x="36" y="445"/>
                </a:lnTo>
                <a:lnTo>
                  <a:pt x="49" y="416"/>
                </a:lnTo>
                <a:lnTo>
                  <a:pt x="63" y="390"/>
                </a:lnTo>
                <a:lnTo>
                  <a:pt x="77" y="363"/>
                </a:lnTo>
                <a:lnTo>
                  <a:pt x="93" y="338"/>
                </a:lnTo>
                <a:lnTo>
                  <a:pt x="108" y="313"/>
                </a:lnTo>
                <a:lnTo>
                  <a:pt x="118" y="300"/>
                </a:lnTo>
                <a:lnTo>
                  <a:pt x="126" y="289"/>
                </a:lnTo>
                <a:lnTo>
                  <a:pt x="144" y="265"/>
                </a:lnTo>
                <a:lnTo>
                  <a:pt x="163" y="242"/>
                </a:lnTo>
                <a:lnTo>
                  <a:pt x="184" y="220"/>
                </a:lnTo>
                <a:lnTo>
                  <a:pt x="206" y="199"/>
                </a:lnTo>
                <a:lnTo>
                  <a:pt x="228" y="179"/>
                </a:lnTo>
                <a:lnTo>
                  <a:pt x="250" y="160"/>
                </a:lnTo>
                <a:lnTo>
                  <a:pt x="275" y="141"/>
                </a:lnTo>
                <a:lnTo>
                  <a:pt x="298" y="124"/>
                </a:lnTo>
                <a:lnTo>
                  <a:pt x="324" y="108"/>
                </a:lnTo>
                <a:lnTo>
                  <a:pt x="349" y="92"/>
                </a:lnTo>
                <a:lnTo>
                  <a:pt x="363" y="86"/>
                </a:lnTo>
                <a:lnTo>
                  <a:pt x="375" y="78"/>
                </a:lnTo>
                <a:lnTo>
                  <a:pt x="404" y="66"/>
                </a:lnTo>
                <a:lnTo>
                  <a:pt x="431" y="53"/>
                </a:lnTo>
                <a:lnTo>
                  <a:pt x="459" y="42"/>
                </a:lnTo>
                <a:lnTo>
                  <a:pt x="489" y="33"/>
                </a:lnTo>
                <a:lnTo>
                  <a:pt x="519" y="25"/>
                </a:lnTo>
                <a:lnTo>
                  <a:pt x="548" y="17"/>
                </a:lnTo>
                <a:lnTo>
                  <a:pt x="578" y="11"/>
                </a:lnTo>
                <a:lnTo>
                  <a:pt x="594" y="8"/>
                </a:lnTo>
                <a:lnTo>
                  <a:pt x="610" y="6"/>
                </a:lnTo>
                <a:lnTo>
                  <a:pt x="641" y="3"/>
                </a:lnTo>
                <a:lnTo>
                  <a:pt x="673" y="1"/>
                </a:lnTo>
                <a:lnTo>
                  <a:pt x="704" y="0"/>
                </a:lnTo>
                <a:lnTo>
                  <a:pt x="745" y="1"/>
                </a:lnTo>
                <a:lnTo>
                  <a:pt x="784" y="4"/>
                </a:lnTo>
                <a:lnTo>
                  <a:pt x="805" y="6"/>
                </a:lnTo>
                <a:lnTo>
                  <a:pt x="823" y="9"/>
                </a:lnTo>
                <a:lnTo>
                  <a:pt x="842" y="14"/>
                </a:lnTo>
                <a:lnTo>
                  <a:pt x="863" y="17"/>
                </a:lnTo>
                <a:lnTo>
                  <a:pt x="855" y="47"/>
                </a:lnTo>
                <a:lnTo>
                  <a:pt x="845" y="77"/>
                </a:lnTo>
                <a:lnTo>
                  <a:pt x="836" y="105"/>
                </a:lnTo>
                <a:lnTo>
                  <a:pt x="825" y="133"/>
                </a:lnTo>
                <a:lnTo>
                  <a:pt x="812" y="162"/>
                </a:lnTo>
                <a:lnTo>
                  <a:pt x="800" y="188"/>
                </a:lnTo>
                <a:lnTo>
                  <a:pt x="784" y="215"/>
                </a:lnTo>
                <a:lnTo>
                  <a:pt x="770" y="240"/>
                </a:lnTo>
                <a:lnTo>
                  <a:pt x="753" y="265"/>
                </a:lnTo>
                <a:lnTo>
                  <a:pt x="745" y="278"/>
                </a:lnTo>
                <a:lnTo>
                  <a:pt x="735" y="291"/>
                </a:lnTo>
                <a:lnTo>
                  <a:pt x="717" y="313"/>
                </a:lnTo>
                <a:lnTo>
                  <a:pt x="698" y="336"/>
                </a:lnTo>
                <a:lnTo>
                  <a:pt x="677" y="358"/>
                </a:lnTo>
                <a:lnTo>
                  <a:pt x="655" y="379"/>
                </a:lnTo>
                <a:lnTo>
                  <a:pt x="633" y="399"/>
                </a:lnTo>
                <a:lnTo>
                  <a:pt x="611" y="418"/>
                </a:lnTo>
                <a:lnTo>
                  <a:pt x="588" y="437"/>
                </a:lnTo>
                <a:lnTo>
                  <a:pt x="563" y="454"/>
                </a:lnTo>
                <a:lnTo>
                  <a:pt x="537" y="470"/>
                </a:lnTo>
                <a:lnTo>
                  <a:pt x="512" y="486"/>
                </a:lnTo>
                <a:lnTo>
                  <a:pt x="498" y="493"/>
                </a:lnTo>
                <a:lnTo>
                  <a:pt x="486" y="500"/>
                </a:lnTo>
                <a:lnTo>
                  <a:pt x="459" y="514"/>
                </a:lnTo>
                <a:lnTo>
                  <a:pt x="431" y="525"/>
                </a:lnTo>
                <a:lnTo>
                  <a:pt x="402" y="536"/>
                </a:lnTo>
                <a:lnTo>
                  <a:pt x="372" y="545"/>
                </a:lnTo>
                <a:lnTo>
                  <a:pt x="344" y="555"/>
                </a:lnTo>
                <a:lnTo>
                  <a:pt x="314" y="561"/>
                </a:lnTo>
                <a:lnTo>
                  <a:pt x="283" y="567"/>
                </a:lnTo>
                <a:lnTo>
                  <a:pt x="267" y="570"/>
                </a:lnTo>
                <a:lnTo>
                  <a:pt x="253" y="572"/>
                </a:lnTo>
                <a:lnTo>
                  <a:pt x="221" y="575"/>
                </a:lnTo>
                <a:lnTo>
                  <a:pt x="190" y="578"/>
                </a:lnTo>
                <a:lnTo>
                  <a:pt x="157" y="578"/>
                </a:lnTo>
                <a:lnTo>
                  <a:pt x="116" y="577"/>
                </a:lnTo>
                <a:lnTo>
                  <a:pt x="77" y="574"/>
                </a:lnTo>
                <a:lnTo>
                  <a:pt x="58" y="572"/>
                </a:lnTo>
                <a:lnTo>
                  <a:pt x="38" y="569"/>
                </a:lnTo>
                <a:lnTo>
                  <a:pt x="19" y="566"/>
                </a:lnTo>
                <a:lnTo>
                  <a:pt x="0" y="561"/>
                </a:lnTo>
                <a:close/>
              </a:path>
            </a:pathLst>
          </a:custGeom>
          <a:solidFill>
            <a:srgbClr val="2E2E38">
              <a:lumMod val="40000"/>
              <a:lumOff val="60000"/>
            </a:srgbClr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8" name="Freeform 9">
            <a:extLst>
              <a:ext uri="{FF2B5EF4-FFF2-40B4-BE49-F238E27FC236}">
                <a16:creationId xmlns:a16="http://schemas.microsoft.com/office/drawing/2014/main" id="{3D3FA872-2A05-8C8C-34A9-C26C27E3A8C4}"/>
              </a:ext>
            </a:extLst>
          </p:cNvPr>
          <p:cNvSpPr>
            <a:spLocks/>
          </p:cNvSpPr>
          <p:nvPr/>
        </p:nvSpPr>
        <p:spPr bwMode="gray">
          <a:xfrm flipV="1">
            <a:off x="7682705" y="3974447"/>
            <a:ext cx="657061" cy="1765656"/>
          </a:xfrm>
          <a:custGeom>
            <a:avLst/>
            <a:gdLst>
              <a:gd name="T0" fmla="*/ 3806 w 352"/>
              <a:gd name="T1" fmla="*/ 837314 h 946"/>
              <a:gd name="T2" fmla="*/ 11419 w 352"/>
              <a:gd name="T3" fmla="*/ 711717 h 946"/>
              <a:gd name="T4" fmla="*/ 36161 w 352"/>
              <a:gd name="T5" fmla="*/ 589926 h 946"/>
              <a:gd name="T6" fmla="*/ 58999 w 352"/>
              <a:gd name="T7" fmla="*/ 498582 h 946"/>
              <a:gd name="T8" fmla="*/ 89450 w 352"/>
              <a:gd name="T9" fmla="*/ 412948 h 946"/>
              <a:gd name="T10" fmla="*/ 137030 w 352"/>
              <a:gd name="T11" fmla="*/ 302575 h 946"/>
              <a:gd name="T12" fmla="*/ 194126 w 352"/>
              <a:gd name="T13" fmla="*/ 194105 h 946"/>
              <a:gd name="T14" fmla="*/ 260738 w 352"/>
              <a:gd name="T15" fmla="*/ 95149 h 946"/>
              <a:gd name="T16" fmla="*/ 334963 w 352"/>
              <a:gd name="T17" fmla="*/ 0 h 946"/>
              <a:gd name="T18" fmla="*/ 392058 w 352"/>
              <a:gd name="T19" fmla="*/ 72313 h 946"/>
              <a:gd name="T20" fmla="*/ 443445 w 352"/>
              <a:gd name="T21" fmla="*/ 142724 h 946"/>
              <a:gd name="T22" fmla="*/ 506250 w 352"/>
              <a:gd name="T23" fmla="*/ 247388 h 946"/>
              <a:gd name="T24" fmla="*/ 559540 w 352"/>
              <a:gd name="T25" fmla="*/ 355858 h 946"/>
              <a:gd name="T26" fmla="*/ 591894 w 352"/>
              <a:gd name="T27" fmla="*/ 439590 h 946"/>
              <a:gd name="T28" fmla="*/ 618539 w 352"/>
              <a:gd name="T29" fmla="*/ 529030 h 946"/>
              <a:gd name="T30" fmla="*/ 645183 w 352"/>
              <a:gd name="T31" fmla="*/ 648918 h 946"/>
              <a:gd name="T32" fmla="*/ 664215 w 352"/>
              <a:gd name="T33" fmla="*/ 772612 h 946"/>
              <a:gd name="T34" fmla="*/ 669925 w 352"/>
              <a:gd name="T35" fmla="*/ 837314 h 946"/>
              <a:gd name="T36" fmla="*/ 669925 w 352"/>
              <a:gd name="T37" fmla="*/ 966717 h 946"/>
              <a:gd name="T38" fmla="*/ 658506 w 352"/>
              <a:gd name="T39" fmla="*/ 1092314 h 946"/>
              <a:gd name="T40" fmla="*/ 633764 w 352"/>
              <a:gd name="T41" fmla="*/ 1214105 h 946"/>
              <a:gd name="T42" fmla="*/ 610926 w 352"/>
              <a:gd name="T43" fmla="*/ 1301643 h 946"/>
              <a:gd name="T44" fmla="*/ 580475 w 352"/>
              <a:gd name="T45" fmla="*/ 1387277 h 946"/>
              <a:gd name="T46" fmla="*/ 532895 w 352"/>
              <a:gd name="T47" fmla="*/ 1501456 h 946"/>
              <a:gd name="T48" fmla="*/ 475799 w 352"/>
              <a:gd name="T49" fmla="*/ 1606120 h 946"/>
              <a:gd name="T50" fmla="*/ 409187 w 352"/>
              <a:gd name="T51" fmla="*/ 1708882 h 946"/>
              <a:gd name="T52" fmla="*/ 334963 w 352"/>
              <a:gd name="T53" fmla="*/ 1800225 h 946"/>
              <a:gd name="T54" fmla="*/ 277867 w 352"/>
              <a:gd name="T55" fmla="*/ 1731717 h 946"/>
              <a:gd name="T56" fmla="*/ 226480 w 352"/>
              <a:gd name="T57" fmla="*/ 1657501 h 946"/>
              <a:gd name="T58" fmla="*/ 163675 w 352"/>
              <a:gd name="T59" fmla="*/ 1554740 h 946"/>
              <a:gd name="T60" fmla="*/ 114192 w 352"/>
              <a:gd name="T61" fmla="*/ 1444367 h 946"/>
              <a:gd name="T62" fmla="*/ 78031 w 352"/>
              <a:gd name="T63" fmla="*/ 1360635 h 946"/>
              <a:gd name="T64" fmla="*/ 51386 w 352"/>
              <a:gd name="T65" fmla="*/ 1275001 h 946"/>
              <a:gd name="T66" fmla="*/ 24742 w 352"/>
              <a:gd name="T67" fmla="*/ 1151307 h 946"/>
              <a:gd name="T68" fmla="*/ 5710 w 352"/>
              <a:gd name="T69" fmla="*/ 1029516 h 946"/>
              <a:gd name="T70" fmla="*/ 3806 w 352"/>
              <a:gd name="T71" fmla="*/ 966717 h 9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52"/>
              <a:gd name="T109" fmla="*/ 0 h 946"/>
              <a:gd name="T110" fmla="*/ 352 w 352"/>
              <a:gd name="T111" fmla="*/ 946 h 9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52" h="946">
                <a:moveTo>
                  <a:pt x="0" y="473"/>
                </a:moveTo>
                <a:lnTo>
                  <a:pt x="2" y="440"/>
                </a:lnTo>
                <a:lnTo>
                  <a:pt x="3" y="406"/>
                </a:lnTo>
                <a:lnTo>
                  <a:pt x="6" y="374"/>
                </a:lnTo>
                <a:lnTo>
                  <a:pt x="13" y="341"/>
                </a:lnTo>
                <a:lnTo>
                  <a:pt x="19" y="310"/>
                </a:lnTo>
                <a:lnTo>
                  <a:pt x="27" y="278"/>
                </a:lnTo>
                <a:lnTo>
                  <a:pt x="31" y="262"/>
                </a:lnTo>
                <a:lnTo>
                  <a:pt x="36" y="247"/>
                </a:lnTo>
                <a:lnTo>
                  <a:pt x="47" y="217"/>
                </a:lnTo>
                <a:lnTo>
                  <a:pt x="60" y="187"/>
                </a:lnTo>
                <a:lnTo>
                  <a:pt x="72" y="159"/>
                </a:lnTo>
                <a:lnTo>
                  <a:pt x="86" y="130"/>
                </a:lnTo>
                <a:lnTo>
                  <a:pt x="102" y="102"/>
                </a:lnTo>
                <a:lnTo>
                  <a:pt x="119" y="75"/>
                </a:lnTo>
                <a:lnTo>
                  <a:pt x="137" y="50"/>
                </a:lnTo>
                <a:lnTo>
                  <a:pt x="156" y="25"/>
                </a:lnTo>
                <a:lnTo>
                  <a:pt x="176" y="0"/>
                </a:lnTo>
                <a:lnTo>
                  <a:pt x="196" y="25"/>
                </a:lnTo>
                <a:lnTo>
                  <a:pt x="206" y="38"/>
                </a:lnTo>
                <a:lnTo>
                  <a:pt x="215" y="50"/>
                </a:lnTo>
                <a:lnTo>
                  <a:pt x="233" y="75"/>
                </a:lnTo>
                <a:lnTo>
                  <a:pt x="250" y="102"/>
                </a:lnTo>
                <a:lnTo>
                  <a:pt x="266" y="130"/>
                </a:lnTo>
                <a:lnTo>
                  <a:pt x="280" y="159"/>
                </a:lnTo>
                <a:lnTo>
                  <a:pt x="294" y="187"/>
                </a:lnTo>
                <a:lnTo>
                  <a:pt x="305" y="217"/>
                </a:lnTo>
                <a:lnTo>
                  <a:pt x="311" y="231"/>
                </a:lnTo>
                <a:lnTo>
                  <a:pt x="316" y="247"/>
                </a:lnTo>
                <a:lnTo>
                  <a:pt x="325" y="278"/>
                </a:lnTo>
                <a:lnTo>
                  <a:pt x="333" y="310"/>
                </a:lnTo>
                <a:lnTo>
                  <a:pt x="339" y="341"/>
                </a:lnTo>
                <a:lnTo>
                  <a:pt x="346" y="374"/>
                </a:lnTo>
                <a:lnTo>
                  <a:pt x="349" y="406"/>
                </a:lnTo>
                <a:lnTo>
                  <a:pt x="350" y="423"/>
                </a:lnTo>
                <a:lnTo>
                  <a:pt x="352" y="440"/>
                </a:lnTo>
                <a:lnTo>
                  <a:pt x="352" y="473"/>
                </a:lnTo>
                <a:lnTo>
                  <a:pt x="352" y="508"/>
                </a:lnTo>
                <a:lnTo>
                  <a:pt x="349" y="541"/>
                </a:lnTo>
                <a:lnTo>
                  <a:pt x="346" y="574"/>
                </a:lnTo>
                <a:lnTo>
                  <a:pt x="339" y="605"/>
                </a:lnTo>
                <a:lnTo>
                  <a:pt x="333" y="638"/>
                </a:lnTo>
                <a:lnTo>
                  <a:pt x="325" y="670"/>
                </a:lnTo>
                <a:lnTo>
                  <a:pt x="321" y="684"/>
                </a:lnTo>
                <a:lnTo>
                  <a:pt x="316" y="699"/>
                </a:lnTo>
                <a:lnTo>
                  <a:pt x="305" y="729"/>
                </a:lnTo>
                <a:lnTo>
                  <a:pt x="294" y="759"/>
                </a:lnTo>
                <a:lnTo>
                  <a:pt x="280" y="789"/>
                </a:lnTo>
                <a:lnTo>
                  <a:pt x="266" y="817"/>
                </a:lnTo>
                <a:lnTo>
                  <a:pt x="250" y="844"/>
                </a:lnTo>
                <a:lnTo>
                  <a:pt x="233" y="871"/>
                </a:lnTo>
                <a:lnTo>
                  <a:pt x="215" y="898"/>
                </a:lnTo>
                <a:lnTo>
                  <a:pt x="196" y="923"/>
                </a:lnTo>
                <a:lnTo>
                  <a:pt x="176" y="946"/>
                </a:lnTo>
                <a:lnTo>
                  <a:pt x="156" y="923"/>
                </a:lnTo>
                <a:lnTo>
                  <a:pt x="146" y="910"/>
                </a:lnTo>
                <a:lnTo>
                  <a:pt x="137" y="898"/>
                </a:lnTo>
                <a:lnTo>
                  <a:pt x="119" y="871"/>
                </a:lnTo>
                <a:lnTo>
                  <a:pt x="102" y="844"/>
                </a:lnTo>
                <a:lnTo>
                  <a:pt x="86" y="817"/>
                </a:lnTo>
                <a:lnTo>
                  <a:pt x="72" y="789"/>
                </a:lnTo>
                <a:lnTo>
                  <a:pt x="60" y="759"/>
                </a:lnTo>
                <a:lnTo>
                  <a:pt x="47" y="729"/>
                </a:lnTo>
                <a:lnTo>
                  <a:pt x="41" y="715"/>
                </a:lnTo>
                <a:lnTo>
                  <a:pt x="36" y="699"/>
                </a:lnTo>
                <a:lnTo>
                  <a:pt x="27" y="670"/>
                </a:lnTo>
                <a:lnTo>
                  <a:pt x="19" y="638"/>
                </a:lnTo>
                <a:lnTo>
                  <a:pt x="13" y="605"/>
                </a:lnTo>
                <a:lnTo>
                  <a:pt x="6" y="574"/>
                </a:lnTo>
                <a:lnTo>
                  <a:pt x="3" y="541"/>
                </a:lnTo>
                <a:lnTo>
                  <a:pt x="2" y="523"/>
                </a:lnTo>
                <a:lnTo>
                  <a:pt x="2" y="508"/>
                </a:lnTo>
                <a:lnTo>
                  <a:pt x="0" y="473"/>
                </a:lnTo>
                <a:close/>
              </a:path>
            </a:pathLst>
          </a:custGeom>
          <a:solidFill>
            <a:srgbClr val="2E2E38">
              <a:lumMod val="40000"/>
              <a:lumOff val="60000"/>
            </a:srgbClr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9" name="Freeform 10">
            <a:extLst>
              <a:ext uri="{FF2B5EF4-FFF2-40B4-BE49-F238E27FC236}">
                <a16:creationId xmlns:a16="http://schemas.microsoft.com/office/drawing/2014/main" id="{850C6D2C-01F3-B477-73F8-E660A8FF1222}"/>
              </a:ext>
            </a:extLst>
          </p:cNvPr>
          <p:cNvSpPr>
            <a:spLocks/>
          </p:cNvSpPr>
          <p:nvPr/>
        </p:nvSpPr>
        <p:spPr bwMode="gray">
          <a:xfrm flipV="1">
            <a:off x="7719218" y="3974447"/>
            <a:ext cx="590109" cy="611908"/>
          </a:xfrm>
          <a:custGeom>
            <a:avLst/>
            <a:gdLst>
              <a:gd name="T0" fmla="*/ 601662 w 316"/>
              <a:gd name="T1" fmla="*/ 32336 h 328"/>
              <a:gd name="T2" fmla="*/ 588334 w 316"/>
              <a:gd name="T3" fmla="*/ 74182 h 328"/>
              <a:gd name="T4" fmla="*/ 576910 w 316"/>
              <a:gd name="T5" fmla="*/ 116028 h 328"/>
              <a:gd name="T6" fmla="*/ 550254 w 316"/>
              <a:gd name="T7" fmla="*/ 197818 h 328"/>
              <a:gd name="T8" fmla="*/ 519790 w 316"/>
              <a:gd name="T9" fmla="*/ 273902 h 328"/>
              <a:gd name="T10" fmla="*/ 502654 w 316"/>
              <a:gd name="T11" fmla="*/ 310042 h 328"/>
              <a:gd name="T12" fmla="*/ 483614 w 316"/>
              <a:gd name="T13" fmla="*/ 349986 h 328"/>
              <a:gd name="T14" fmla="*/ 466478 w 316"/>
              <a:gd name="T15" fmla="*/ 386126 h 328"/>
              <a:gd name="T16" fmla="*/ 445535 w 316"/>
              <a:gd name="T17" fmla="*/ 420364 h 328"/>
              <a:gd name="T18" fmla="*/ 399839 w 316"/>
              <a:gd name="T19" fmla="*/ 492643 h 328"/>
              <a:gd name="T20" fmla="*/ 376991 w 316"/>
              <a:gd name="T21" fmla="*/ 524979 h 328"/>
              <a:gd name="T22" fmla="*/ 352239 w 316"/>
              <a:gd name="T23" fmla="*/ 559217 h 328"/>
              <a:gd name="T24" fmla="*/ 325583 w 316"/>
              <a:gd name="T25" fmla="*/ 591552 h 328"/>
              <a:gd name="T26" fmla="*/ 298927 w 316"/>
              <a:gd name="T27" fmla="*/ 623888 h 328"/>
              <a:gd name="T28" fmla="*/ 247519 w 316"/>
              <a:gd name="T29" fmla="*/ 559217 h 328"/>
              <a:gd name="T30" fmla="*/ 220863 w 316"/>
              <a:gd name="T31" fmla="*/ 524979 h 328"/>
              <a:gd name="T32" fmla="*/ 198015 w 316"/>
              <a:gd name="T33" fmla="*/ 492643 h 328"/>
              <a:gd name="T34" fmla="*/ 177071 w 316"/>
              <a:gd name="T35" fmla="*/ 456503 h 328"/>
              <a:gd name="T36" fmla="*/ 156127 w 316"/>
              <a:gd name="T37" fmla="*/ 420364 h 328"/>
              <a:gd name="T38" fmla="*/ 135184 w 316"/>
              <a:gd name="T39" fmla="*/ 386126 h 328"/>
              <a:gd name="T40" fmla="*/ 114240 w 316"/>
              <a:gd name="T41" fmla="*/ 349986 h 328"/>
              <a:gd name="T42" fmla="*/ 95200 w 316"/>
              <a:gd name="T43" fmla="*/ 310042 h 328"/>
              <a:gd name="T44" fmla="*/ 78064 w 316"/>
              <a:gd name="T45" fmla="*/ 273902 h 328"/>
              <a:gd name="T46" fmla="*/ 62832 w 316"/>
              <a:gd name="T47" fmla="*/ 235860 h 328"/>
              <a:gd name="T48" fmla="*/ 47600 w 316"/>
              <a:gd name="T49" fmla="*/ 197818 h 328"/>
              <a:gd name="T50" fmla="*/ 32368 w 316"/>
              <a:gd name="T51" fmla="*/ 154070 h 328"/>
              <a:gd name="T52" fmla="*/ 20944 w 316"/>
              <a:gd name="T53" fmla="*/ 116028 h 328"/>
              <a:gd name="T54" fmla="*/ 9520 w 316"/>
              <a:gd name="T55" fmla="*/ 74182 h 328"/>
              <a:gd name="T56" fmla="*/ 0 w 316"/>
              <a:gd name="T57" fmla="*/ 32336 h 328"/>
              <a:gd name="T58" fmla="*/ 36176 w 316"/>
              <a:gd name="T59" fmla="*/ 26629 h 328"/>
              <a:gd name="T60" fmla="*/ 72352 w 316"/>
              <a:gd name="T61" fmla="*/ 17119 h 328"/>
              <a:gd name="T62" fmla="*/ 146608 w 316"/>
              <a:gd name="T63" fmla="*/ 7608 h 328"/>
              <a:gd name="T64" fmla="*/ 184687 w 316"/>
              <a:gd name="T65" fmla="*/ 5706 h 328"/>
              <a:gd name="T66" fmla="*/ 220863 w 316"/>
              <a:gd name="T67" fmla="*/ 1902 h 328"/>
              <a:gd name="T68" fmla="*/ 298927 w 316"/>
              <a:gd name="T69" fmla="*/ 0 h 328"/>
              <a:gd name="T70" fmla="*/ 376991 w 316"/>
              <a:gd name="T71" fmla="*/ 1902 h 328"/>
              <a:gd name="T72" fmla="*/ 451247 w 316"/>
              <a:gd name="T73" fmla="*/ 7608 h 328"/>
              <a:gd name="T74" fmla="*/ 491230 w 316"/>
              <a:gd name="T75" fmla="*/ 11413 h 328"/>
              <a:gd name="T76" fmla="*/ 525502 w 316"/>
              <a:gd name="T77" fmla="*/ 17119 h 328"/>
              <a:gd name="T78" fmla="*/ 561678 w 316"/>
              <a:gd name="T79" fmla="*/ 26629 h 328"/>
              <a:gd name="T80" fmla="*/ 601662 w 316"/>
              <a:gd name="T81" fmla="*/ 32336 h 3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16"/>
              <a:gd name="T124" fmla="*/ 0 h 328"/>
              <a:gd name="T125" fmla="*/ 316 w 316"/>
              <a:gd name="T126" fmla="*/ 328 h 3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16" h="328">
                <a:moveTo>
                  <a:pt x="316" y="17"/>
                </a:moveTo>
                <a:lnTo>
                  <a:pt x="309" y="39"/>
                </a:lnTo>
                <a:lnTo>
                  <a:pt x="303" y="61"/>
                </a:lnTo>
                <a:lnTo>
                  <a:pt x="289" y="104"/>
                </a:lnTo>
                <a:lnTo>
                  <a:pt x="273" y="144"/>
                </a:lnTo>
                <a:lnTo>
                  <a:pt x="264" y="163"/>
                </a:lnTo>
                <a:lnTo>
                  <a:pt x="254" y="184"/>
                </a:lnTo>
                <a:lnTo>
                  <a:pt x="245" y="203"/>
                </a:lnTo>
                <a:lnTo>
                  <a:pt x="234" y="221"/>
                </a:lnTo>
                <a:lnTo>
                  <a:pt x="210" y="259"/>
                </a:lnTo>
                <a:lnTo>
                  <a:pt x="198" y="276"/>
                </a:lnTo>
                <a:lnTo>
                  <a:pt x="185" y="294"/>
                </a:lnTo>
                <a:lnTo>
                  <a:pt x="171" y="311"/>
                </a:lnTo>
                <a:lnTo>
                  <a:pt x="157" y="328"/>
                </a:lnTo>
                <a:lnTo>
                  <a:pt x="130" y="294"/>
                </a:lnTo>
                <a:lnTo>
                  <a:pt x="116" y="276"/>
                </a:lnTo>
                <a:lnTo>
                  <a:pt x="104" y="259"/>
                </a:lnTo>
                <a:lnTo>
                  <a:pt x="93" y="240"/>
                </a:lnTo>
                <a:lnTo>
                  <a:pt x="82" y="221"/>
                </a:lnTo>
                <a:lnTo>
                  <a:pt x="71" y="203"/>
                </a:lnTo>
                <a:lnTo>
                  <a:pt x="60" y="184"/>
                </a:lnTo>
                <a:lnTo>
                  <a:pt x="50" y="163"/>
                </a:lnTo>
                <a:lnTo>
                  <a:pt x="41" y="144"/>
                </a:lnTo>
                <a:lnTo>
                  <a:pt x="33" y="124"/>
                </a:lnTo>
                <a:lnTo>
                  <a:pt x="25" y="104"/>
                </a:lnTo>
                <a:lnTo>
                  <a:pt x="17" y="81"/>
                </a:lnTo>
                <a:lnTo>
                  <a:pt x="11" y="61"/>
                </a:lnTo>
                <a:lnTo>
                  <a:pt x="5" y="39"/>
                </a:lnTo>
                <a:lnTo>
                  <a:pt x="0" y="17"/>
                </a:lnTo>
                <a:lnTo>
                  <a:pt x="19" y="14"/>
                </a:lnTo>
                <a:lnTo>
                  <a:pt x="38" y="9"/>
                </a:lnTo>
                <a:lnTo>
                  <a:pt x="77" y="4"/>
                </a:lnTo>
                <a:lnTo>
                  <a:pt x="97" y="3"/>
                </a:lnTo>
                <a:lnTo>
                  <a:pt x="116" y="1"/>
                </a:lnTo>
                <a:lnTo>
                  <a:pt x="157" y="0"/>
                </a:lnTo>
                <a:lnTo>
                  <a:pt x="198" y="1"/>
                </a:lnTo>
                <a:lnTo>
                  <a:pt x="237" y="4"/>
                </a:lnTo>
                <a:lnTo>
                  <a:pt x="258" y="6"/>
                </a:lnTo>
                <a:lnTo>
                  <a:pt x="276" y="9"/>
                </a:lnTo>
                <a:lnTo>
                  <a:pt x="295" y="14"/>
                </a:lnTo>
                <a:lnTo>
                  <a:pt x="316" y="17"/>
                </a:lnTo>
                <a:close/>
              </a:path>
            </a:pathLst>
          </a:custGeom>
          <a:solidFill>
            <a:srgbClr val="2E2E38">
              <a:lumMod val="60000"/>
              <a:lumOff val="40000"/>
            </a:srgbClr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61" name="Rectangle 12">
            <a:extLst>
              <a:ext uri="{FF2B5EF4-FFF2-40B4-BE49-F238E27FC236}">
                <a16:creationId xmlns:a16="http://schemas.microsoft.com/office/drawing/2014/main" id="{976C1E55-0003-1A75-F34E-9CEE67815A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05529" y="2534439"/>
            <a:ext cx="2411412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 algn="l" defTabSz="1042988" eaLnBrk="0" hangingPunct="0">
              <a:spcBef>
                <a:spcPct val="20000"/>
              </a:spcBef>
              <a:buClr>
                <a:srgbClr val="FFD200"/>
              </a:buClr>
              <a:defRPr sz="2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 panose="02000506000000020004" pitchFamily="2" charset="0"/>
              </a:rPr>
              <a:t>Speed with </a:t>
            </a:r>
          </a:p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 panose="02000506000000020004" pitchFamily="2" charset="0"/>
              </a:rPr>
              <a:t>Snowflake</a:t>
            </a:r>
          </a:p>
        </p:txBody>
      </p:sp>
      <p:sp>
        <p:nvSpPr>
          <p:cNvPr id="63" name="Rectangle 12">
            <a:extLst>
              <a:ext uri="{FF2B5EF4-FFF2-40B4-BE49-F238E27FC236}">
                <a16:creationId xmlns:a16="http://schemas.microsoft.com/office/drawing/2014/main" id="{C5C3D976-A8B7-B321-C07E-3A50E49FD1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0440" y="4436123"/>
            <a:ext cx="2540795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 algn="l" defTabSz="1042988" eaLnBrk="0" hangingPunct="0">
              <a:spcBef>
                <a:spcPct val="20000"/>
              </a:spcBef>
              <a:buClr>
                <a:srgbClr val="FFD200"/>
              </a:buClr>
              <a:defRPr sz="2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/>
              </a:rPr>
              <a:t>Standard Usable </a:t>
            </a:r>
          </a:p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/>
              </a:rPr>
              <a:t>Databook + PBI </a:t>
            </a:r>
          </a:p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/>
              </a:rPr>
              <a:t>Templates</a:t>
            </a:r>
          </a:p>
        </p:txBody>
      </p:sp>
      <p:sp>
        <p:nvSpPr>
          <p:cNvPr id="1024" name="Rectangle 12">
            <a:extLst>
              <a:ext uri="{FF2B5EF4-FFF2-40B4-BE49-F238E27FC236}">
                <a16:creationId xmlns:a16="http://schemas.microsoft.com/office/drawing/2014/main" id="{BBA4D46E-DC5C-B679-CF1C-72DF1B486D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12905" y="4381067"/>
            <a:ext cx="2513976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 algn="l" defTabSz="1042988" eaLnBrk="0" hangingPunct="0">
              <a:spcBef>
                <a:spcPct val="20000"/>
              </a:spcBef>
              <a:buClr>
                <a:srgbClr val="FFD200"/>
              </a:buClr>
              <a:defRPr sz="2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2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 sz="2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l" defTabSz="1042988" eaLnBrk="0" hangingPunct="0">
              <a:spcBef>
                <a:spcPct val="20000"/>
              </a:spcBef>
              <a:buClr>
                <a:srgbClr val="FFD200"/>
              </a:buClr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10429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/>
              </a:rPr>
              <a:t>Common Training </a:t>
            </a:r>
          </a:p>
          <a:p>
            <a:pPr algn="ctr">
              <a:spcBef>
                <a:spcPct val="0"/>
              </a:spcBef>
              <a:buClr>
                <a:srgbClr val="00A28A"/>
              </a:buClr>
              <a:buFont typeface="Times" panose="02020603050405020304" pitchFamily="18" charset="0"/>
              <a:buNone/>
            </a:pPr>
            <a:r>
              <a:rPr lang="en-US" altLang="de-DE" sz="1800">
                <a:solidFill>
                  <a:schemeClr val="tx1"/>
                </a:solidFill>
                <a:latin typeface="EYInterstate Light"/>
              </a:rPr>
              <a:t>Materi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FCDCCF-3A25-3E8A-098B-81EED8A33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929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F344639C-29D5-85C1-2FFA-CEED9550DA96}"/>
              </a:ext>
            </a:extLst>
          </p:cNvPr>
          <p:cNvSpPr/>
          <p:nvPr/>
        </p:nvSpPr>
        <p:spPr>
          <a:xfrm>
            <a:off x="3259667" y="2328407"/>
            <a:ext cx="7137400" cy="4737576"/>
          </a:xfrm>
          <a:prstGeom prst="rect">
            <a:avLst/>
          </a:prstGeom>
          <a:solidFill>
            <a:srgbClr val="FFE600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500520"/>
            <a:ext cx="890538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Significant enhancements delivered this development cycle with a focus on </a:t>
            </a:r>
            <a:r>
              <a:rPr lang="en-US" sz="2000" b="1">
                <a:solidFill>
                  <a:schemeClr val="tx2"/>
                </a:solidFill>
                <a:latin typeface="EYInterstate Light" panose="02000506000000020004" pitchFamily="2" charset="0"/>
              </a:rPr>
              <a:t>usability and performance, interactive </a:t>
            </a:r>
            <a:r>
              <a:rPr lang="en-US" sz="2000" b="1" err="1">
                <a:solidFill>
                  <a:schemeClr val="tx2"/>
                </a:solidFill>
                <a:latin typeface="EYInterstate Light" panose="02000506000000020004" pitchFamily="2" charset="0"/>
              </a:rPr>
              <a:t>databook</a:t>
            </a:r>
            <a:r>
              <a:rPr lang="en-US" sz="2000" b="1">
                <a:solidFill>
                  <a:schemeClr val="tx2"/>
                </a:solidFill>
                <a:latin typeface="EYInterstate Light" panose="02000506000000020004" pitchFamily="2" charset="0"/>
              </a:rPr>
              <a:t> capabilities</a:t>
            </a: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, and more </a:t>
            </a:r>
            <a:r>
              <a:rPr lang="en-US" sz="2000" b="1">
                <a:solidFill>
                  <a:schemeClr val="tx2"/>
                </a:solidFill>
                <a:latin typeface="EYInterstate Light" panose="02000506000000020004" pitchFamily="2" charset="0"/>
              </a:rPr>
              <a:t>advanced analyses</a:t>
            </a: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 to drive deeper insights</a:t>
            </a:r>
            <a:endParaRPr lang="en-GB" sz="2000" b="1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C668A6B-08B0-59F2-88B0-F9BE79864B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5E8A6DE-C32D-AF34-C408-5F634CFD3B45}"/>
              </a:ext>
            </a:extLst>
          </p:cNvPr>
          <p:cNvSpPr txBox="1"/>
          <p:nvPr/>
        </p:nvSpPr>
        <p:spPr>
          <a:xfrm>
            <a:off x="-740228" y="1735362"/>
            <a:ext cx="6723017" cy="307777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</a:rPr>
              <a:t>Key improvements the development team have made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C9E1651-FD98-2E1A-70E3-70596567E3D2}"/>
              </a:ext>
            </a:extLst>
          </p:cNvPr>
          <p:cNvCxnSpPr>
            <a:cxnSpLocks/>
          </p:cNvCxnSpPr>
          <p:nvPr/>
        </p:nvCxnSpPr>
        <p:spPr>
          <a:xfrm>
            <a:off x="471804" y="2141548"/>
            <a:ext cx="3473179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488C65A3-B30B-798A-FEEE-BEE4D9473354}"/>
              </a:ext>
            </a:extLst>
          </p:cNvPr>
          <p:cNvSpPr/>
          <p:nvPr/>
        </p:nvSpPr>
        <p:spPr>
          <a:xfrm>
            <a:off x="1292366" y="2393549"/>
            <a:ext cx="1585972" cy="1264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b="1">
                <a:solidFill>
                  <a:schemeClr val="tx2">
                    <a:lumMod val="40000"/>
                    <a:lumOff val="60000"/>
                  </a:schemeClr>
                </a:solidFill>
              </a:rPr>
              <a:t>Usability and Speed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6DC205E-19BE-0BE4-5AFA-C6D4021E3A0E}"/>
              </a:ext>
            </a:extLst>
          </p:cNvPr>
          <p:cNvSpPr/>
          <p:nvPr/>
        </p:nvSpPr>
        <p:spPr>
          <a:xfrm>
            <a:off x="1292366" y="4026976"/>
            <a:ext cx="1585972" cy="1194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b="1">
                <a:solidFill>
                  <a:schemeClr val="tx2">
                    <a:lumMod val="40000"/>
                    <a:lumOff val="60000"/>
                  </a:schemeClr>
                </a:solidFill>
              </a:rPr>
              <a:t>Dynamics Reporting Capabiliti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4C7B3B1-1092-5CB0-4BD5-586C4EAF6AC1}"/>
              </a:ext>
            </a:extLst>
          </p:cNvPr>
          <p:cNvSpPr/>
          <p:nvPr/>
        </p:nvSpPr>
        <p:spPr>
          <a:xfrm>
            <a:off x="1292366" y="5755937"/>
            <a:ext cx="1585972" cy="11978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b="1">
                <a:solidFill>
                  <a:schemeClr val="tx2">
                    <a:lumMod val="40000"/>
                    <a:lumOff val="60000"/>
                  </a:schemeClr>
                </a:solidFill>
              </a:rPr>
              <a:t>Enhanced / Enriched Analyses</a:t>
            </a:r>
          </a:p>
        </p:txBody>
      </p: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A9196157-01E4-2057-F503-2E64E2101955}"/>
              </a:ext>
            </a:extLst>
          </p:cNvPr>
          <p:cNvCxnSpPr>
            <a:cxnSpLocks/>
            <a:endCxn id="92" idx="1"/>
          </p:cNvCxnSpPr>
          <p:nvPr/>
        </p:nvCxnSpPr>
        <p:spPr>
          <a:xfrm rot="16200000" flipH="1">
            <a:off x="517838" y="2251223"/>
            <a:ext cx="875968" cy="673088"/>
          </a:xfrm>
          <a:prstGeom prst="bentConnector2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9BB3EFFF-CCBC-1D8D-296F-2AFA6F0C8108}"/>
              </a:ext>
            </a:extLst>
          </p:cNvPr>
          <p:cNvCxnSpPr>
            <a:cxnSpLocks/>
            <a:endCxn id="95" idx="1"/>
          </p:cNvCxnSpPr>
          <p:nvPr/>
        </p:nvCxnSpPr>
        <p:spPr>
          <a:xfrm rot="16200000" flipH="1">
            <a:off x="-281292" y="3050349"/>
            <a:ext cx="2474225" cy="673091"/>
          </a:xfrm>
          <a:prstGeom prst="bentConnector2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C44E4FAE-176E-0539-F2EF-88FA6DE93DFF}"/>
              </a:ext>
            </a:extLst>
          </p:cNvPr>
          <p:cNvCxnSpPr>
            <a:cxnSpLocks/>
            <a:endCxn id="96" idx="1"/>
          </p:cNvCxnSpPr>
          <p:nvPr/>
        </p:nvCxnSpPr>
        <p:spPr>
          <a:xfrm rot="16200000" flipH="1">
            <a:off x="-977816" y="4084687"/>
            <a:ext cx="3867274" cy="673090"/>
          </a:xfrm>
          <a:prstGeom prst="bentConnector2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0C64FA0-7D36-6848-F9DA-8914F6942B26}"/>
              </a:ext>
            </a:extLst>
          </p:cNvPr>
          <p:cNvSpPr/>
          <p:nvPr/>
        </p:nvSpPr>
        <p:spPr>
          <a:xfrm>
            <a:off x="3331028" y="2393549"/>
            <a:ext cx="3392424" cy="1264404"/>
          </a:xfrm>
          <a:prstGeom prst="rect">
            <a:avLst/>
          </a:prstGeom>
          <a:solidFill>
            <a:srgbClr val="23232A"/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Optimized </a:t>
            </a:r>
            <a:r>
              <a:rPr lang="en-US" sz="1200" b="1" err="1"/>
              <a:t>InDB</a:t>
            </a:r>
            <a:r>
              <a:rPr lang="en-US" sz="1200" b="1"/>
              <a:t> SQL Code:</a:t>
            </a:r>
          </a:p>
          <a:p>
            <a:endParaRPr lang="en-US" sz="60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50">
                <a:solidFill>
                  <a:schemeClr val="tx1"/>
                </a:solidFill>
              </a:rPr>
              <a:t>Faster processing time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50">
                <a:solidFill>
                  <a:schemeClr val="tx1"/>
                </a:solidFill>
              </a:rPr>
              <a:t>Fewer data aggregation and summarization steps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0BFF5B3-FB7B-5F4D-4A16-0C4813A03504}"/>
              </a:ext>
            </a:extLst>
          </p:cNvPr>
          <p:cNvSpPr/>
          <p:nvPr/>
        </p:nvSpPr>
        <p:spPr>
          <a:xfrm>
            <a:off x="6939885" y="2393549"/>
            <a:ext cx="3392424" cy="126440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Enhanced Usability (Databook &amp; Alteryx)</a:t>
            </a:r>
          </a:p>
          <a:p>
            <a:endParaRPr lang="en-US" sz="600" b="1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>
                <a:solidFill>
                  <a:schemeClr val="tx1"/>
                </a:solidFill>
              </a:rPr>
              <a:t>Streamlined workflow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000">
                <a:solidFill>
                  <a:schemeClr val="tx1"/>
                </a:solidFill>
              </a:rPr>
              <a:t>Easier user-modification with cleaner documentations</a:t>
            </a:r>
          </a:p>
        </p:txBody>
      </p:sp>
      <p:sp>
        <p:nvSpPr>
          <p:cNvPr id="129" name="Isosceles Triangle 128">
            <a:extLst>
              <a:ext uri="{FF2B5EF4-FFF2-40B4-BE49-F238E27FC236}">
                <a16:creationId xmlns:a16="http://schemas.microsoft.com/office/drawing/2014/main" id="{8C29B63B-17A2-FB18-4753-15E95E978567}"/>
              </a:ext>
            </a:extLst>
          </p:cNvPr>
          <p:cNvSpPr/>
          <p:nvPr/>
        </p:nvSpPr>
        <p:spPr>
          <a:xfrm rot="5400000">
            <a:off x="2813723" y="2950459"/>
            <a:ext cx="427450" cy="17342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1" name="Isosceles Triangle 130">
            <a:extLst>
              <a:ext uri="{FF2B5EF4-FFF2-40B4-BE49-F238E27FC236}">
                <a16:creationId xmlns:a16="http://schemas.microsoft.com/office/drawing/2014/main" id="{11332BC7-3779-552B-2A7D-B612F2A5D16A}"/>
              </a:ext>
            </a:extLst>
          </p:cNvPr>
          <p:cNvSpPr/>
          <p:nvPr/>
        </p:nvSpPr>
        <p:spPr>
          <a:xfrm rot="5400000">
            <a:off x="2813723" y="4565992"/>
            <a:ext cx="427450" cy="17342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9725D77-113D-CFEA-B070-F724C59124E5}"/>
              </a:ext>
            </a:extLst>
          </p:cNvPr>
          <p:cNvSpPr/>
          <p:nvPr/>
        </p:nvSpPr>
        <p:spPr>
          <a:xfrm>
            <a:off x="3331030" y="5722667"/>
            <a:ext cx="1280160" cy="1264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2">
                    <a:lumMod val="95000"/>
                    <a:lumOff val="5000"/>
                  </a:schemeClr>
                </a:solidFill>
              </a:rPr>
              <a:t>KPI Matrix</a:t>
            </a:r>
          </a:p>
        </p:txBody>
      </p:sp>
      <p:sp>
        <p:nvSpPr>
          <p:cNvPr id="136" name="Isosceles Triangle 135">
            <a:extLst>
              <a:ext uri="{FF2B5EF4-FFF2-40B4-BE49-F238E27FC236}">
                <a16:creationId xmlns:a16="http://schemas.microsoft.com/office/drawing/2014/main" id="{BC9E7B6C-07BD-8545-E159-2688BAACF6CB}"/>
              </a:ext>
            </a:extLst>
          </p:cNvPr>
          <p:cNvSpPr/>
          <p:nvPr/>
        </p:nvSpPr>
        <p:spPr>
          <a:xfrm rot="5400000">
            <a:off x="2813723" y="6285921"/>
            <a:ext cx="427450" cy="17342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B7214EEC-6A54-5A30-73CB-C3E5A65C484D}"/>
              </a:ext>
            </a:extLst>
          </p:cNvPr>
          <p:cNvSpPr/>
          <p:nvPr/>
        </p:nvSpPr>
        <p:spPr>
          <a:xfrm>
            <a:off x="4765287" y="5722667"/>
            <a:ext cx="1280160" cy="1264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2">
                    <a:lumMod val="95000"/>
                    <a:lumOff val="5000"/>
                  </a:schemeClr>
                </a:solidFill>
              </a:rPr>
              <a:t>Product Penetration / Cross-sel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D7617715-8654-44AA-6703-A3FA731B293D}"/>
              </a:ext>
            </a:extLst>
          </p:cNvPr>
          <p:cNvSpPr/>
          <p:nvPr/>
        </p:nvSpPr>
        <p:spPr>
          <a:xfrm>
            <a:off x="6199544" y="5722667"/>
            <a:ext cx="1280160" cy="1264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2">
                    <a:lumMod val="95000"/>
                    <a:lumOff val="5000"/>
                  </a:schemeClr>
                </a:solidFill>
              </a:rPr>
              <a:t>Customer Migration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17A29F8-8C55-BD08-2218-ADE38D176270}"/>
              </a:ext>
            </a:extLst>
          </p:cNvPr>
          <p:cNvSpPr/>
          <p:nvPr/>
        </p:nvSpPr>
        <p:spPr>
          <a:xfrm>
            <a:off x="7633801" y="5722667"/>
            <a:ext cx="1280160" cy="1264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2">
                    <a:lumMod val="95000"/>
                    <a:lumOff val="5000"/>
                  </a:schemeClr>
                </a:solidFill>
              </a:rPr>
              <a:t>Renewal Rate Analysis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CE5585AF-D3F0-96BB-E081-C0B4E2DB1077}"/>
              </a:ext>
            </a:extLst>
          </p:cNvPr>
          <p:cNvSpPr/>
          <p:nvPr/>
        </p:nvSpPr>
        <p:spPr>
          <a:xfrm>
            <a:off x="9051261" y="5722667"/>
            <a:ext cx="1280160" cy="1264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2">
                    <a:lumMod val="95000"/>
                    <a:lumOff val="5000"/>
                  </a:schemeClr>
                </a:solidFill>
              </a:rPr>
              <a:t>Customer Stratification by AR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B44AAC-9F81-6EF8-E0A5-E31EFBD8BF91}"/>
              </a:ext>
            </a:extLst>
          </p:cNvPr>
          <p:cNvSpPr/>
          <p:nvPr/>
        </p:nvSpPr>
        <p:spPr>
          <a:xfrm>
            <a:off x="3331028" y="4059271"/>
            <a:ext cx="1664305" cy="126440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Template-Based Approach</a:t>
            </a:r>
            <a:endParaRPr lang="en-US" sz="600"/>
          </a:p>
          <a:p>
            <a:pPr>
              <a:spcAft>
                <a:spcPts val="600"/>
              </a:spcAft>
            </a:pPr>
            <a:endParaRPr lang="en-US" sz="60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</a:rPr>
              <a:t>Linked to the same data model as </a:t>
            </a:r>
            <a:r>
              <a:rPr lang="en-US" sz="1000" err="1">
                <a:solidFill>
                  <a:schemeClr val="tx1"/>
                </a:solidFill>
              </a:rPr>
              <a:t>PowerBI</a:t>
            </a:r>
            <a:r>
              <a:rPr lang="en-US" sz="1000">
                <a:solidFill>
                  <a:schemeClr val="tx1"/>
                </a:solidFill>
              </a:rPr>
              <a:t> for consistenc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359364-1D02-18D1-7902-69794294B84D}"/>
              </a:ext>
            </a:extLst>
          </p:cNvPr>
          <p:cNvSpPr/>
          <p:nvPr/>
        </p:nvSpPr>
        <p:spPr>
          <a:xfrm>
            <a:off x="5109670" y="4059271"/>
            <a:ext cx="1664305" cy="126440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Multi-Level Customer View</a:t>
            </a:r>
          </a:p>
          <a:p>
            <a:endParaRPr lang="en-US" sz="60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</a:rPr>
              <a:t>Easily adjust date ranges and segment top customers by any attribute or perio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AC11486-B874-2813-DBC7-BCC07E25D71B}"/>
              </a:ext>
            </a:extLst>
          </p:cNvPr>
          <p:cNvSpPr/>
          <p:nvPr/>
        </p:nvSpPr>
        <p:spPr>
          <a:xfrm>
            <a:off x="6888312" y="4059271"/>
            <a:ext cx="1664305" cy="126440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Bird's Eye View of KPIs</a:t>
            </a:r>
          </a:p>
          <a:p>
            <a:endParaRPr lang="en-US" sz="60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</a:rPr>
              <a:t>Sliceable analyses with flexible, dynamic schedu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156765-7E50-EDA4-B50E-0C91C8AD37EE}"/>
              </a:ext>
            </a:extLst>
          </p:cNvPr>
          <p:cNvSpPr/>
          <p:nvPr/>
        </p:nvSpPr>
        <p:spPr>
          <a:xfrm>
            <a:off x="8666954" y="4059271"/>
            <a:ext cx="1664305" cy="1264404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/>
              <a:t>Simplified Backend</a:t>
            </a:r>
          </a:p>
          <a:p>
            <a:endParaRPr lang="en-US" sz="60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000">
                <a:solidFill>
                  <a:schemeClr val="tx1"/>
                </a:solidFill>
              </a:rPr>
              <a:t>Automated setup, instant connections, and DAX optimization for dynamic calculations</a:t>
            </a:r>
          </a:p>
        </p:txBody>
      </p:sp>
    </p:spTree>
    <p:extLst>
      <p:ext uri="{BB962C8B-B14F-4D97-AF65-F5344CB8AC3E}">
        <p14:creationId xmlns:p14="http://schemas.microsoft.com/office/powerpoint/2010/main" val="4209491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289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7B7470-2481-C687-7189-5197BD26B7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 | TMT Enabler Update V4+ | 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576393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US" sz="2000" b="1">
                <a:solidFill>
                  <a:schemeClr val="tx1"/>
                </a:solidFill>
                <a:latin typeface="EYInterstate Light" panose="02000506000000020004" pitchFamily="2" charset="0"/>
              </a:rPr>
              <a:t>We have established clear steps for streamlining data processes, setting up Snowflake, and enhancing reporting to efficiently deliver insights to our clients.</a:t>
            </a:r>
            <a:endParaRPr lang="en-GB" sz="2000" b="1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68" name="Google Shape;3694;p51">
            <a:extLst>
              <a:ext uri="{FF2B5EF4-FFF2-40B4-BE49-F238E27FC236}">
                <a16:creationId xmlns:a16="http://schemas.microsoft.com/office/drawing/2014/main" id="{601C4A5A-A064-A779-AA30-E6FE8D068991}"/>
              </a:ext>
            </a:extLst>
          </p:cNvPr>
          <p:cNvGrpSpPr/>
          <p:nvPr/>
        </p:nvGrpSpPr>
        <p:grpSpPr>
          <a:xfrm>
            <a:off x="697706" y="2103437"/>
            <a:ext cx="9141893" cy="1852971"/>
            <a:chOff x="567075" y="2291313"/>
            <a:chExt cx="9123668" cy="1849278"/>
          </a:xfrm>
        </p:grpSpPr>
        <p:sp>
          <p:nvSpPr>
            <p:cNvPr id="69" name="Google Shape;3695;p51">
              <a:extLst>
                <a:ext uri="{FF2B5EF4-FFF2-40B4-BE49-F238E27FC236}">
                  <a16:creationId xmlns:a16="http://schemas.microsoft.com/office/drawing/2014/main" id="{E5AF659F-DB09-59C7-29AD-2F8DBA79C091}"/>
                </a:ext>
              </a:extLst>
            </p:cNvPr>
            <p:cNvSpPr txBox="1"/>
            <p:nvPr/>
          </p:nvSpPr>
          <p:spPr>
            <a:xfrm>
              <a:off x="567075" y="3420591"/>
              <a:ext cx="1420432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apture and obtain bookings, billings, and/or other recurring revenue data.</a:t>
              </a: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lean data</a:t>
              </a: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 and reconcile it to the client's trial balances or other reports. </a:t>
              </a:r>
              <a:endParaRPr kumimoji="0" lang="en-GB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696;p51">
              <a:extLst>
                <a:ext uri="{FF2B5EF4-FFF2-40B4-BE49-F238E27FC236}">
                  <a16:creationId xmlns:a16="http://schemas.microsoft.com/office/drawing/2014/main" id="{2CEED48E-1ECB-8BA6-96BD-6EFC92E901BD}"/>
                </a:ext>
              </a:extLst>
            </p:cNvPr>
            <p:cNvSpPr/>
            <p:nvPr/>
          </p:nvSpPr>
          <p:spPr>
            <a:xfrm>
              <a:off x="8299228" y="2291313"/>
              <a:ext cx="1362600" cy="924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Deliver Insights to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3697;p51">
              <a:extLst>
                <a:ext uri="{FF2B5EF4-FFF2-40B4-BE49-F238E27FC236}">
                  <a16:creationId xmlns:a16="http://schemas.microsoft.com/office/drawing/2014/main" id="{4E4154EA-ED1D-DEBB-2287-BFED473411B5}"/>
                </a:ext>
              </a:extLst>
            </p:cNvPr>
            <p:cNvSpPr/>
            <p:nvPr/>
          </p:nvSpPr>
          <p:spPr>
            <a:xfrm>
              <a:off x="2500113" y="2291313"/>
              <a:ext cx="1405974" cy="924030"/>
            </a:xfrm>
            <a:prstGeom prst="rect">
              <a:avLst/>
            </a:prstGeom>
            <a:solidFill>
              <a:srgbClr val="D2D2DA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Set up Snowflake &amp; Alteryx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3698;p51">
              <a:extLst>
                <a:ext uri="{FF2B5EF4-FFF2-40B4-BE49-F238E27FC236}">
                  <a16:creationId xmlns:a16="http://schemas.microsoft.com/office/drawing/2014/main" id="{F01A6551-EAE3-0EDB-934E-732312EBE3E0}"/>
                </a:ext>
              </a:extLst>
            </p:cNvPr>
            <p:cNvSpPr/>
            <p:nvPr/>
          </p:nvSpPr>
          <p:spPr>
            <a:xfrm>
              <a:off x="567075" y="2291313"/>
              <a:ext cx="1420432" cy="9240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1200" b="1" kern="0">
                  <a:solidFill>
                    <a:srgbClr val="2E2E38"/>
                  </a:solidFill>
                  <a:latin typeface="+mj-lt"/>
                  <a:ea typeface="Arial"/>
                  <a:cs typeface="Arial"/>
                  <a:sym typeface="Arial"/>
                </a:rPr>
                <a:t>Raw Data From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3699;p51">
              <a:extLst>
                <a:ext uri="{FF2B5EF4-FFF2-40B4-BE49-F238E27FC236}">
                  <a16:creationId xmlns:a16="http://schemas.microsoft.com/office/drawing/2014/main" id="{8D4AEBDB-6280-6FA3-9CDF-CD57E294E910}"/>
                </a:ext>
              </a:extLst>
            </p:cNvPr>
            <p:cNvSpPr/>
            <p:nvPr/>
          </p:nvSpPr>
          <p:spPr>
            <a:xfrm>
              <a:off x="6366189" y="2291313"/>
              <a:ext cx="1377058" cy="924030"/>
            </a:xfrm>
            <a:prstGeom prst="rect">
              <a:avLst/>
            </a:prstGeom>
            <a:solidFill>
              <a:srgbClr val="79799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&amp; Refresh </a:t>
              </a: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PowerBI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3700;p51">
              <a:extLst>
                <a:ext uri="{FF2B5EF4-FFF2-40B4-BE49-F238E27FC236}">
                  <a16:creationId xmlns:a16="http://schemas.microsoft.com/office/drawing/2014/main" id="{0CB52865-DA9E-A3C7-EA8C-8A8A5F22EDF1}"/>
                </a:ext>
              </a:extLst>
            </p:cNvPr>
            <p:cNvSpPr/>
            <p:nvPr/>
          </p:nvSpPr>
          <p:spPr>
            <a:xfrm>
              <a:off x="4433151" y="2291313"/>
              <a:ext cx="1391515" cy="924030"/>
            </a:xfrm>
            <a:prstGeom prst="rect">
              <a:avLst/>
            </a:prstGeom>
            <a:solidFill>
              <a:srgbClr val="A1A1B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&amp; Refresh Databook from Snowflake 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3701;p51">
              <a:extLst>
                <a:ext uri="{FF2B5EF4-FFF2-40B4-BE49-F238E27FC236}">
                  <a16:creationId xmlns:a16="http://schemas.microsoft.com/office/drawing/2014/main" id="{10594F93-89B2-090D-503D-195B86AC7937}"/>
                </a:ext>
              </a:extLst>
            </p:cNvPr>
            <p:cNvSpPr txBox="1"/>
            <p:nvPr/>
          </p:nvSpPr>
          <p:spPr>
            <a:xfrm>
              <a:off x="2500113" y="3420591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Setup a new Project Snowflake instance and connect it with Alteryx.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+mj-lt"/>
                <a:buAutoNum type="arabicPeriod"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Run the In-DB Alteryx Enabler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+mj-lt"/>
                <a:buAutoNum type="arabicPeriod"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Build Snowflake final output tabl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3702;p51">
              <a:extLst>
                <a:ext uri="{FF2B5EF4-FFF2-40B4-BE49-F238E27FC236}">
                  <a16:creationId xmlns:a16="http://schemas.microsoft.com/office/drawing/2014/main" id="{63A70B06-E643-4193-522C-781F1A92D848}"/>
                </a:ext>
              </a:extLst>
            </p:cNvPr>
            <p:cNvSpPr txBox="1"/>
            <p:nvPr/>
          </p:nvSpPr>
          <p:spPr>
            <a:xfrm>
              <a:off x="4433151" y="3420590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Snowflake to Excel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Refresh data in Excel and update Databook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Make any changes in the Databook based on specific deal needs.</a:t>
              </a:r>
            </a:p>
          </p:txBody>
        </p:sp>
        <p:sp>
          <p:nvSpPr>
            <p:cNvPr id="77" name="Google Shape;3703;p51">
              <a:extLst>
                <a:ext uri="{FF2B5EF4-FFF2-40B4-BE49-F238E27FC236}">
                  <a16:creationId xmlns:a16="http://schemas.microsoft.com/office/drawing/2014/main" id="{1F8DF88B-164C-CCDE-D8BA-35D9E20CEAC0}"/>
                </a:ext>
              </a:extLst>
            </p:cNvPr>
            <p:cNvSpPr txBox="1"/>
            <p:nvPr/>
          </p:nvSpPr>
          <p:spPr>
            <a:xfrm>
              <a:off x="6366189" y="3420590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Snowflake to PBI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Refresh data in PBI and update Dashboard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Make any changes in the Dashboard based on specific deal needs.</a:t>
              </a:r>
            </a:p>
          </p:txBody>
        </p:sp>
        <p:sp>
          <p:nvSpPr>
            <p:cNvPr id="78" name="Google Shape;3704;p51">
              <a:extLst>
                <a:ext uri="{FF2B5EF4-FFF2-40B4-BE49-F238E27FC236}">
                  <a16:creationId xmlns:a16="http://schemas.microsoft.com/office/drawing/2014/main" id="{0EA4454C-71C7-9039-633F-D0ADC9E4A87B}"/>
                </a:ext>
              </a:extLst>
            </p:cNvPr>
            <p:cNvSpPr txBox="1"/>
            <p:nvPr/>
          </p:nvSpPr>
          <p:spPr>
            <a:xfrm>
              <a:off x="8299228" y="3420591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Leverage the outputs in the Databook and PBI to advice clients</a:t>
              </a:r>
            </a:p>
          </p:txBody>
        </p:sp>
        <p:cxnSp>
          <p:nvCxnSpPr>
            <p:cNvPr id="79" name="Google Shape;3705;p51">
              <a:extLst>
                <a:ext uri="{FF2B5EF4-FFF2-40B4-BE49-F238E27FC236}">
                  <a16:creationId xmlns:a16="http://schemas.microsoft.com/office/drawing/2014/main" id="{26AD603F-FD23-80A9-47EE-7D29072E6424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1987507" y="2753328"/>
              <a:ext cx="51260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0" name="Google Shape;3706;p51">
              <a:extLst>
                <a:ext uri="{FF2B5EF4-FFF2-40B4-BE49-F238E27FC236}">
                  <a16:creationId xmlns:a16="http://schemas.microsoft.com/office/drawing/2014/main" id="{0393B8D9-22DD-04E8-2690-7DD5F95D9941}"/>
                </a:ext>
              </a:extLst>
            </p:cNvPr>
            <p:cNvCxnSpPr>
              <a:cxnSpLocks/>
              <a:endCxn id="73" idx="1"/>
            </p:cNvCxnSpPr>
            <p:nvPr/>
          </p:nvCxnSpPr>
          <p:spPr>
            <a:xfrm>
              <a:off x="5824667" y="2753328"/>
              <a:ext cx="541522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1" name="Google Shape;3707;p51">
              <a:extLst>
                <a:ext uri="{FF2B5EF4-FFF2-40B4-BE49-F238E27FC236}">
                  <a16:creationId xmlns:a16="http://schemas.microsoft.com/office/drawing/2014/main" id="{5575D1E5-954A-D63A-2A8D-34C9C1AF2E1B}"/>
                </a:ext>
              </a:extLst>
            </p:cNvPr>
            <p:cNvCxnSpPr>
              <a:cxnSpLocks/>
              <a:endCxn id="74" idx="1"/>
            </p:cNvCxnSpPr>
            <p:nvPr/>
          </p:nvCxnSpPr>
          <p:spPr>
            <a:xfrm>
              <a:off x="3906087" y="2753328"/>
              <a:ext cx="527064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2" name="Google Shape;3708;p51">
              <a:extLst>
                <a:ext uri="{FF2B5EF4-FFF2-40B4-BE49-F238E27FC236}">
                  <a16:creationId xmlns:a16="http://schemas.microsoft.com/office/drawing/2014/main" id="{2A1262CC-5138-E895-22F0-EF7E38B9BBD9}"/>
                </a:ext>
              </a:extLst>
            </p:cNvPr>
            <p:cNvCxnSpPr>
              <a:cxnSpLocks/>
              <a:endCxn id="70" idx="1"/>
            </p:cNvCxnSpPr>
            <p:nvPr/>
          </p:nvCxnSpPr>
          <p:spPr>
            <a:xfrm>
              <a:off x="7743247" y="2753328"/>
              <a:ext cx="555980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AB56E6-5F13-4E1E-AA43-50A3E30EC5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762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CDEC1AE4-11B8-43C2-A67E-69AD208D0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837433"/>
              </p:ext>
            </p:extLst>
          </p:nvPr>
        </p:nvGraphicFramePr>
        <p:xfrm>
          <a:off x="1392" y="775722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CDEC1AE4-11B8-43C2-A67E-69AD208D0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2" y="775722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541BD0F4-B202-4578-AE55-2B4B39AC36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774330"/>
            <a:ext cx="139144" cy="139144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1472"/>
            <a:endParaRPr lang="en-US" sz="2104" kern="0">
              <a:solidFill>
                <a:srgbClr val="2E2E38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F3BFC9-56B5-4652-A0ED-C9287E16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0" y="549138"/>
            <a:ext cx="9622632" cy="650807"/>
          </a:xfrm>
        </p:spPr>
        <p:txBody>
          <a:bodyPr vert="horz"/>
          <a:lstStyle/>
          <a:p>
            <a:r>
              <a:rPr lang="en-US" sz="2000" b="1">
                <a:latin typeface="EYInterstate Light"/>
                <a:cs typeface="Arial"/>
              </a:rPr>
              <a:t>Our change management strategy ensures smooth adoption through targeted training, support, usage tracking, and continuous feedback</a:t>
            </a:r>
            <a:endParaRPr lang="de-DE" sz="2000" b="1"/>
          </a:p>
        </p:txBody>
      </p:sp>
      <p:sp>
        <p:nvSpPr>
          <p:cNvPr id="42" name="Subtitle 4">
            <a:extLst>
              <a:ext uri="{FF2B5EF4-FFF2-40B4-BE49-F238E27FC236}">
                <a16:creationId xmlns:a16="http://schemas.microsoft.com/office/drawing/2014/main" id="{23216D13-3DD1-4D88-9214-CF3843D94549}"/>
              </a:ext>
            </a:extLst>
          </p:cNvPr>
          <p:cNvSpPr txBox="1">
            <a:spLocks/>
          </p:cNvSpPr>
          <p:nvPr/>
        </p:nvSpPr>
        <p:spPr>
          <a:xfrm>
            <a:off x="540992" y="1877012"/>
            <a:ext cx="2718998" cy="10742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Lunch &amp; Learn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Schedule a Lunch &amp; Learn to go over what the new Enablers is and how to leverage it on a deal. 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grpSp>
        <p:nvGrpSpPr>
          <p:cNvPr id="5" name="Gruppieren 40">
            <a:extLst>
              <a:ext uri="{FF2B5EF4-FFF2-40B4-BE49-F238E27FC236}">
                <a16:creationId xmlns:a16="http://schemas.microsoft.com/office/drawing/2014/main" id="{B40778EA-A2CA-428E-6D44-001028918F43}"/>
              </a:ext>
            </a:extLst>
          </p:cNvPr>
          <p:cNvGrpSpPr/>
          <p:nvPr/>
        </p:nvGrpSpPr>
        <p:grpSpPr>
          <a:xfrm>
            <a:off x="3249236" y="1739140"/>
            <a:ext cx="4037983" cy="3864950"/>
            <a:chOff x="3615425" y="1209052"/>
            <a:chExt cx="4965672" cy="4790548"/>
          </a:xfrm>
        </p:grpSpPr>
        <p:grpSp>
          <p:nvGrpSpPr>
            <p:cNvPr id="6" name="Gruppieren 39">
              <a:extLst>
                <a:ext uri="{FF2B5EF4-FFF2-40B4-BE49-F238E27FC236}">
                  <a16:creationId xmlns:a16="http://schemas.microsoft.com/office/drawing/2014/main" id="{CA8219F9-7EC2-778A-2C5C-E9BBBC225F7D}"/>
                </a:ext>
              </a:extLst>
            </p:cNvPr>
            <p:cNvGrpSpPr/>
            <p:nvPr/>
          </p:nvGrpSpPr>
          <p:grpSpPr>
            <a:xfrm>
              <a:off x="5379095" y="1209052"/>
              <a:ext cx="1922437" cy="1503496"/>
              <a:chOff x="5379095" y="1209052"/>
              <a:chExt cx="1922437" cy="1503496"/>
            </a:xfrm>
          </p:grpSpPr>
          <p:sp>
            <p:nvSpPr>
              <p:cNvPr id="33" name="Ellipse 9">
                <a:extLst>
                  <a:ext uri="{FF2B5EF4-FFF2-40B4-BE49-F238E27FC236}">
                    <a16:creationId xmlns:a16="http://schemas.microsoft.com/office/drawing/2014/main" id="{C6E7407A-91AD-2D94-C2D6-51102151738E}"/>
                  </a:ext>
                </a:extLst>
              </p:cNvPr>
              <p:cNvSpPr/>
              <p:nvPr/>
            </p:nvSpPr>
            <p:spPr>
              <a:xfrm>
                <a:off x="5379095" y="1209052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Lunch &amp; Learn</a:t>
                </a:r>
              </a:p>
            </p:txBody>
          </p:sp>
          <p:sp>
            <p:nvSpPr>
              <p:cNvPr id="34" name="Rechteck 10">
                <a:extLst>
                  <a:ext uri="{FF2B5EF4-FFF2-40B4-BE49-F238E27FC236}">
                    <a16:creationId xmlns:a16="http://schemas.microsoft.com/office/drawing/2014/main" id="{FA1FB9ED-2897-8400-BA89-AEC3C62B1786}"/>
                  </a:ext>
                </a:extLst>
              </p:cNvPr>
              <p:cNvSpPr/>
              <p:nvPr/>
            </p:nvSpPr>
            <p:spPr>
              <a:xfrm>
                <a:off x="6099175" y="2583960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7" name="Gruppieren 35">
              <a:extLst>
                <a:ext uri="{FF2B5EF4-FFF2-40B4-BE49-F238E27FC236}">
                  <a16:creationId xmlns:a16="http://schemas.microsoft.com/office/drawing/2014/main" id="{634C3DE3-C9A7-F3E4-B9D3-04418977BF4D}"/>
                </a:ext>
              </a:extLst>
            </p:cNvPr>
            <p:cNvGrpSpPr/>
            <p:nvPr/>
          </p:nvGrpSpPr>
          <p:grpSpPr>
            <a:xfrm>
              <a:off x="7141097" y="2473297"/>
              <a:ext cx="1440000" cy="2065936"/>
              <a:chOff x="7141097" y="2473297"/>
              <a:chExt cx="1440000" cy="2065936"/>
            </a:xfrm>
          </p:grpSpPr>
          <p:sp>
            <p:nvSpPr>
              <p:cNvPr id="31" name="Ellipse 20">
                <a:extLst>
                  <a:ext uri="{FF2B5EF4-FFF2-40B4-BE49-F238E27FC236}">
                    <a16:creationId xmlns:a16="http://schemas.microsoft.com/office/drawing/2014/main" id="{90B1B0A6-F41B-2D82-8093-0052CD70BC33}"/>
                  </a:ext>
                </a:extLst>
              </p:cNvPr>
              <p:cNvSpPr/>
              <p:nvPr/>
            </p:nvSpPr>
            <p:spPr>
              <a:xfrm>
                <a:off x="7141097" y="2473297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Office Hours</a:t>
                </a:r>
              </a:p>
            </p:txBody>
          </p:sp>
          <p:sp>
            <p:nvSpPr>
              <p:cNvPr id="32" name="Rechteck 10">
                <a:extLst>
                  <a:ext uri="{FF2B5EF4-FFF2-40B4-BE49-F238E27FC236}">
                    <a16:creationId xmlns:a16="http://schemas.microsoft.com/office/drawing/2014/main" id="{E4C1DC3E-F0A7-1041-4294-4D2113C2B020}"/>
                  </a:ext>
                </a:extLst>
              </p:cNvPr>
              <p:cNvSpPr/>
              <p:nvPr/>
            </p:nvSpPr>
            <p:spPr>
              <a:xfrm rot="4637424">
                <a:off x="6690621" y="3873761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47782" y="54553"/>
                      <a:pt x="1140024" y="81509"/>
                      <a:pt x="1112373" y="127246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8" name="Gruppieren 37">
              <a:extLst>
                <a:ext uri="{FF2B5EF4-FFF2-40B4-BE49-F238E27FC236}">
                  <a16:creationId xmlns:a16="http://schemas.microsoft.com/office/drawing/2014/main" id="{3490403A-604A-D2BA-373C-834FE48F756E}"/>
                </a:ext>
              </a:extLst>
            </p:cNvPr>
            <p:cNvGrpSpPr/>
            <p:nvPr/>
          </p:nvGrpSpPr>
          <p:grpSpPr>
            <a:xfrm>
              <a:off x="4300501" y="4276365"/>
              <a:ext cx="1440000" cy="1722077"/>
              <a:chOff x="4300501" y="4276365"/>
              <a:chExt cx="1440000" cy="1722077"/>
            </a:xfrm>
          </p:grpSpPr>
          <p:sp>
            <p:nvSpPr>
              <p:cNvPr id="29" name="Ellipse 26">
                <a:extLst>
                  <a:ext uri="{FF2B5EF4-FFF2-40B4-BE49-F238E27FC236}">
                    <a16:creationId xmlns:a16="http://schemas.microsoft.com/office/drawing/2014/main" id="{729AA3D4-B241-C816-ECB7-937D9588E94D}"/>
                  </a:ext>
                </a:extLst>
              </p:cNvPr>
              <p:cNvSpPr/>
              <p:nvPr/>
            </p:nvSpPr>
            <p:spPr>
              <a:xfrm>
                <a:off x="4300501" y="4558442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Feedback Survey</a:t>
                </a:r>
              </a:p>
            </p:txBody>
          </p:sp>
          <p:sp>
            <p:nvSpPr>
              <p:cNvPr id="30" name="Rechteck 10">
                <a:extLst>
                  <a:ext uri="{FF2B5EF4-FFF2-40B4-BE49-F238E27FC236}">
                    <a16:creationId xmlns:a16="http://schemas.microsoft.com/office/drawing/2014/main" id="{DB28EE97-5E6F-2E78-636D-677F1F02D3BC}"/>
                  </a:ext>
                </a:extLst>
              </p:cNvPr>
              <p:cNvSpPr/>
              <p:nvPr/>
            </p:nvSpPr>
            <p:spPr>
              <a:xfrm rot="13278064">
                <a:off x="4442552" y="4276365"/>
                <a:ext cx="1202357" cy="129319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9963 w 1202357"/>
                  <a:gd name="connsiteY2" fmla="*/ 127837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9319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41023" y="64544"/>
                      <a:pt x="1145456" y="84420"/>
                      <a:pt x="1125491" y="129319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21" name="Gruppieren 38">
              <a:extLst>
                <a:ext uri="{FF2B5EF4-FFF2-40B4-BE49-F238E27FC236}">
                  <a16:creationId xmlns:a16="http://schemas.microsoft.com/office/drawing/2014/main" id="{1C9DD327-4088-1CBB-FE34-B8F45391BCD4}"/>
                </a:ext>
              </a:extLst>
            </p:cNvPr>
            <p:cNvGrpSpPr/>
            <p:nvPr/>
          </p:nvGrpSpPr>
          <p:grpSpPr>
            <a:xfrm>
              <a:off x="3615425" y="2254902"/>
              <a:ext cx="1657962" cy="1660985"/>
              <a:chOff x="3615425" y="2254902"/>
              <a:chExt cx="1657962" cy="1660985"/>
            </a:xfrm>
          </p:grpSpPr>
          <p:sp>
            <p:nvSpPr>
              <p:cNvPr id="27" name="Ellipse 29">
                <a:extLst>
                  <a:ext uri="{FF2B5EF4-FFF2-40B4-BE49-F238E27FC236}">
                    <a16:creationId xmlns:a16="http://schemas.microsoft.com/office/drawing/2014/main" id="{6CB0D2D6-056F-0A0A-933B-796F8E755A91}"/>
                  </a:ext>
                </a:extLst>
              </p:cNvPr>
              <p:cNvSpPr/>
              <p:nvPr/>
            </p:nvSpPr>
            <p:spPr>
              <a:xfrm>
                <a:off x="3615425" y="2475887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Office Champions</a:t>
                </a:r>
              </a:p>
            </p:txBody>
          </p:sp>
          <p:sp>
            <p:nvSpPr>
              <p:cNvPr id="28" name="Rechteck 10">
                <a:extLst>
                  <a:ext uri="{FF2B5EF4-FFF2-40B4-BE49-F238E27FC236}">
                    <a16:creationId xmlns:a16="http://schemas.microsoft.com/office/drawing/2014/main" id="{BBBB2B1D-EE82-DFF7-FA02-D2F5F72401A2}"/>
                  </a:ext>
                </a:extLst>
              </p:cNvPr>
              <p:cNvSpPr/>
              <p:nvPr/>
            </p:nvSpPr>
            <p:spPr>
              <a:xfrm rot="17318564">
                <a:off x="4607914" y="2791787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22" name="Gruppieren 36">
              <a:extLst>
                <a:ext uri="{FF2B5EF4-FFF2-40B4-BE49-F238E27FC236}">
                  <a16:creationId xmlns:a16="http://schemas.microsoft.com/office/drawing/2014/main" id="{009B032D-25E0-4774-CB31-7591BA14BA59}"/>
                </a:ext>
              </a:extLst>
            </p:cNvPr>
            <p:cNvGrpSpPr/>
            <p:nvPr/>
          </p:nvGrpSpPr>
          <p:grpSpPr>
            <a:xfrm>
              <a:off x="5667800" y="4559600"/>
              <a:ext cx="2232724" cy="1440000"/>
              <a:chOff x="5667800" y="4559600"/>
              <a:chExt cx="2232724" cy="1440000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5EA59AC8-E187-42CF-5754-79C1E526E8DB}"/>
                  </a:ext>
                </a:extLst>
              </p:cNvPr>
              <p:cNvSpPr/>
              <p:nvPr/>
            </p:nvSpPr>
            <p:spPr>
              <a:xfrm>
                <a:off x="6460524" y="4559600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Tracking Usage</a:t>
                </a:r>
              </a:p>
            </p:txBody>
          </p:sp>
          <p:sp>
            <p:nvSpPr>
              <p:cNvPr id="25" name="Rechteck 10">
                <a:extLst>
                  <a:ext uri="{FF2B5EF4-FFF2-40B4-BE49-F238E27FC236}">
                    <a16:creationId xmlns:a16="http://schemas.microsoft.com/office/drawing/2014/main" id="{A758E88E-ADF8-BDEB-9A0F-E48710FE6FC9}"/>
                  </a:ext>
                </a:extLst>
              </p:cNvPr>
              <p:cNvSpPr/>
              <p:nvPr/>
            </p:nvSpPr>
            <p:spPr>
              <a:xfrm rot="8603379">
                <a:off x="5667800" y="4996568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sp>
          <p:nvSpPr>
            <p:cNvPr id="23" name="Ellipse 32">
              <a:extLst>
                <a:ext uri="{FF2B5EF4-FFF2-40B4-BE49-F238E27FC236}">
                  <a16:creationId xmlns:a16="http://schemas.microsoft.com/office/drawing/2014/main" id="{515788FC-2FB2-BAD1-6395-E7CB2887BBAC}"/>
                </a:ext>
              </a:extLst>
            </p:cNvPr>
            <p:cNvSpPr/>
            <p:nvPr/>
          </p:nvSpPr>
          <p:spPr>
            <a:xfrm>
              <a:off x="5364094" y="3020754"/>
              <a:ext cx="1440001" cy="1440000"/>
            </a:xfrm>
            <a:prstGeom prst="ellipse">
              <a:avLst/>
            </a:prstGeom>
            <a:solidFill>
              <a:schemeClr val="tx2"/>
            </a:solidFill>
            <a:ln w="1270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01472"/>
              <a:r>
                <a:rPr lang="en-US" sz="1200" b="1" kern="0">
                  <a:solidFill>
                    <a:srgbClr val="2E2E38"/>
                  </a:solidFill>
                  <a:latin typeface="EYInterstate Light"/>
                </a:rPr>
                <a:t>Adaptation Strategy</a:t>
              </a:r>
            </a:p>
          </p:txBody>
        </p:sp>
      </p:grpSp>
      <p:sp>
        <p:nvSpPr>
          <p:cNvPr id="60" name="Subtitle 4">
            <a:extLst>
              <a:ext uri="{FF2B5EF4-FFF2-40B4-BE49-F238E27FC236}">
                <a16:creationId xmlns:a16="http://schemas.microsoft.com/office/drawing/2014/main" id="{122BBAA7-B8A1-CC00-FB4E-394D324D07C7}"/>
              </a:ext>
            </a:extLst>
          </p:cNvPr>
          <p:cNvSpPr txBox="1">
            <a:spLocks/>
          </p:cNvSpPr>
          <p:nvPr/>
        </p:nvSpPr>
        <p:spPr>
          <a:xfrm>
            <a:off x="534591" y="3297662"/>
            <a:ext cx="2475766" cy="99281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Office Champions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Leverage and empower office champions to provide guidance and assist on any questions.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sp>
        <p:nvSpPr>
          <p:cNvPr id="61" name="Subtitle 4">
            <a:extLst>
              <a:ext uri="{FF2B5EF4-FFF2-40B4-BE49-F238E27FC236}">
                <a16:creationId xmlns:a16="http://schemas.microsoft.com/office/drawing/2014/main" id="{84361E1A-A84F-8890-282E-1D14E6B7B479}"/>
              </a:ext>
            </a:extLst>
          </p:cNvPr>
          <p:cNvSpPr txBox="1">
            <a:spLocks/>
          </p:cNvSpPr>
          <p:nvPr/>
        </p:nvSpPr>
        <p:spPr>
          <a:xfrm>
            <a:off x="540992" y="4777432"/>
            <a:ext cx="2718998" cy="10742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Tracking Usage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Actively track usage and reach out to deal leads where an enabler instance was not used to receive continuous feedback for future development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052">
              <a:solidFill>
                <a:prstClr val="white"/>
              </a:solidFill>
              <a:latin typeface="EYInterstate Light"/>
            </a:endParaRP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C1D00B8-D943-39A0-E0AE-B9568B781BBC}"/>
              </a:ext>
            </a:extLst>
          </p:cNvPr>
          <p:cNvSpPr txBox="1"/>
          <p:nvPr/>
        </p:nvSpPr>
        <p:spPr>
          <a:xfrm>
            <a:off x="7515380" y="2591654"/>
            <a:ext cx="2822945" cy="91608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Office Hours</a:t>
            </a:r>
          </a:p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Host an enabler office hours to answer any questions and solicit feedback on </a:t>
            </a:r>
            <a:r>
              <a:rPr lang="en-US" sz="1052">
                <a:solidFill>
                  <a:prstClr val="white"/>
                </a:solidFill>
                <a:latin typeface="EYInterstate Light"/>
              </a:rPr>
              <a:t>areas of improvement</a:t>
            </a: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BDD8570-3C04-72FB-47B1-4098DE39A7B4}"/>
              </a:ext>
            </a:extLst>
          </p:cNvPr>
          <p:cNvSpPr txBox="1"/>
          <p:nvPr/>
        </p:nvSpPr>
        <p:spPr>
          <a:xfrm>
            <a:off x="7515379" y="4085702"/>
            <a:ext cx="2822945" cy="109421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eedback Survey</a:t>
            </a:r>
          </a:p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Deploy feedback surveys on a periodic basis to solicit anonymous feedback on efficacy of enabler and areas of opportunities</a:t>
            </a: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367DFB-ABF2-1824-FBE2-5B1929A3D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8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93766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3DAA3AA-04DA-4F4C-84DD-B3CEDDC5DA84}"/>
              </a:ext>
            </a:extLst>
          </p:cNvPr>
          <p:cNvSpPr txBox="1">
            <a:spLocks/>
          </p:cNvSpPr>
          <p:nvPr/>
        </p:nvSpPr>
        <p:spPr>
          <a:xfrm>
            <a:off x="260653" y="1220792"/>
            <a:ext cx="4575312" cy="601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3825">
                <a:solidFill>
                  <a:schemeClr val="tx1">
                    <a:alpha val="30000"/>
                  </a:schemeClr>
                </a:solidFill>
                <a:latin typeface="EYInterstate Light" panose="02000506000000020004" pitchFamily="2" charset="0"/>
              </a:rPr>
              <a:t>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8D865-6F23-464E-93FA-3D35CC408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>
                <a:solidFill>
                  <a:schemeClr val="tx1"/>
                </a:solidFill>
                <a:latin typeface="EYInterstate Light" panose="02000506000000020004" pitchFamily="2" charset="0"/>
              </a:rPr>
              <a:t>03. New Databook Views</a:t>
            </a:r>
          </a:p>
        </p:txBody>
      </p:sp>
    </p:spTree>
    <p:extLst>
      <p:ext uri="{BB962C8B-B14F-4D97-AF65-F5344CB8AC3E}">
        <p14:creationId xmlns:p14="http://schemas.microsoft.com/office/powerpoint/2010/main" val="314180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SDESIGN" val="EY Global"/>
  <p:tag name="UPSLIDEPRINTFACINGPAGESLAYOUT" val="Title Slide"/>
  <p:tag name="UPSLIDETOCALGOID" val="Standard"/>
  <p:tag name="UPSLIDETOCMASTERID" val="EY SAT Global03 08 2022"/>
  <p:tag name="UPSLIDETOCMASTERNAME" val="EY SAT Global"/>
  <p:tag name="UPSLIDETOCMASTERLASTEDITIONDATE" val="637823519520457550"/>
  <p:tag name="TEMPLATESHORTNAMETAG" val="EY SAT Template Selector"/>
  <p:tag name="TEMPLATEFULLNAMETAG" val="EY SAT Template Selector"/>
  <p:tag name="TEMPLATEDETAILSTAG" val="Quickly choose the appropriate template and have basic information filled in automatically"/>
  <p:tag name="UPSLIDE" val="EYG02623_EY SAT Template Selector_03-18-2022"/>
  <p:tag name="UPSLIDEVERSION" val="6.8.25.1"/>
  <p:tag name="UPSLIDEFOOTNOTESHAPE" val="{&#10;  &quot;Data&quot;: &quot;UEsDBBQABgAIAAAAIQC75UiUBQEAAB4CAAATAAAAW0NvbnRlbnRfVHlwZXNdLnhtbKSRvU7DMBSFdyTewfKKEqcMCKEmHfgZgaE8wMW+SSwc27JvS/v23KTJgkoXFsu+P+c7Ol5vDoMTe0zZBl/LVVlJgV4HY31Xy4/tS3EvRSbwBlzwWMsjZrlprq/W22PELHjb51r2RPFBqax7HCCXIaLnThvSAMTP1KkI+gs6VLdVdad08ISeCho1ZLN+whZ2jsTzgcsnJwldluLxNDiyagkxOquB2Knae/OLUsyEkjenmdzbmG/YhlRnCWPnb8C898bRJGtQvEOiVxjYhtLOxs8AySiT4JuDystlVV4WPeM6tK3VaILeDZxIOSsuti/jidNGNZ3/J08yC1dNv9v8AAAA//8DAFBLAwQUAAYACAAAACEArTA/8cEAAAAyAQAACwAAAF9yZWxzLy5yZWxzhI/NCsIwEITvgu8Q9m7TehCRpr2I4FX0AdZk2wbbJGTj39ubi6AgeJtl2G9m6vYxjeJGka13CqqiBEFOe2Ndr+B03C3WIDihMzh6RwqexNA281l9oBFTfuLBBhaZ4ljBkFLYSMl6oAm58IFcdjofJ0z5jL0MqC/Yk1yW5UrGTwY0X0yxNwri3lQgjs+Qk/+zfddZTVuvrxO59CNCmoj3vCwjMfaUFOjRhrPHaN4Wv0VV5OYgm1p+LW1eAAAA//8DAFBLAwQUAAYACAAAACEAHi2AXH0EAADqEQAAHwAAAGNsaXBib2FyZC9kcmF3aW5ncy9kcmF3aW5nMS54bWzsWF9z2jgQf7+Z+w4ev9444D8Yw5R0AsG5zmTumJB+ACFk8EWWfJKgJJ1+9+7KMia06fTuHo8XWFur1U+/Xa139e79oeLenildSjHxw6u+7zFB5boUm4n/8TEPMt/Thog14VKwif/MtP/++tdf3pHxRpF6W1IPLAg9JhN/a0w97vU03bKK6CtZMwFjhVQVMfCoNr21Ip/AcsV7Ub+f9ipSCv+6M3VLDPF2qvwXprikT2w9I2JPNJjkdHz6xmHk9L9bJmOxv1P1sl4oRE7/2C+UV64nPjAnSAUU+T034NTgsXc2a9MZOBSqQn1ZFN7BWnnGX2uDHYxH4eVo0E/iNPY9CmNhFIdh6BbZ/tlMG4ziYZT4Hoyn2SjNwqRVmP/YBiBrEIBwgkrXiEnsv93moN3mI6CbyoOXWA/Cw702OAlBWx9+zvNoOpjnSZCDFCT9aRJM58koyKM4m0fDfBbF6RecHaZjqhgxEIMf1m08hek3zqpKqqSWhbmisuoBYyVlbUxBRIVJE1HWHZ+j0Ty7zcM4iNPbYRBOw2mQZ3k/mA7yeR7PZvOkn3xBlmDngLn9t7uAV9axuB8QkAXPHGC3QL+b0nGjXSicefItlyA/P3Dq0SFkXCtt7pisPBQmvmLUWK7JHkA2wFsV6y2Zl5w371tM5rC0nkTw62fUWsE/7AaOPJjcSvXie5/gIE98/feOKOZ7/IPQNg5NK6hWWLWCMnwmudUigoKVib+y0IS82RlZlA5esxguy7VZmmfOUF6zYtGcHpAeAAwnmG2YCD4uHbudCt/zEOmviLpvFuQbyFTc90DnkayWL3A+wiTpw/kDWFaFkXsxVU/oLLBtSuEeQWULS0EGWuwEhf2HFrRDocFSmKGdJ6YwGUKOsuNa8nKN3CJ4m93YjAOFBFYzhzYgXmnZVT3zXLOCUMgJv1Ui4KY5k4ycDTDSDFB9NkB1RwfwZEPU8WE53fOooyYZDBGwR/73/CApjp+446cNkgs/SIrjJ+n4CeNhmF4CaAwHDFlxBA1OCMqizKaHSwQhK46gtCMoijIIoEsKgghCVhxBwxOChkl8ydFQDOw5suIIyjqCkB37Jb8cMWTFETQ6ISgdDC9J2kYQstJURCelpS12HV0Pb5WLYb8/HCXQTn2vXiykMDe2hCJQyf5U/cjFsqboK13TBTVNYQiLYC5syvFTjSkrWl2jG91WDeZ3ozeFbafQZquHnm/re+rGVzuoRa1BtVkdy9JoHs3jzCkfVVa75csR4LDFR8aGrLqOogk7a1JB3f20q8pK/gU9OST2Y6F+N4VrAaiX7fdQG1U+QZEr5NJKrwpoj2JzIeDyAGbU0ICDGYFXArx8Yb/bxxXRjJd4u2DHFkrKwsrrUhnbDduDIPBXnDQ53L55VXfrN0l4pcaKApqpZs9kvLsXjwfgFSSs8p18XsLfqJJwZBTaxX9ewQOVONNc51IaIQ3zmnsR7D6b3rMJZghgfHNs13aaLesHANv4vennQAMb9N7ZLYed6m5l8Crl9Pn6KwAAAP//AwBQSwMEFAAGAAgAAAAhAPBt81IIBAAACQ8AABoAAABjbGlwYm9hcmQvdGhlbWUvdGhlbWUxLnhtbMxXyW7cOBC9DzD/QPA+aakX9QLLgWN3Yw4TBIgTDObI1h5TlCDScfz3U1xFdsvwAh/Sh4b0+FgsVhVfiRcff7UU/SwG3nQsxfGHCKOCZV3esCrF378d/tpgxAVhOaEdK1L8WHD88fLPPy7ILqNNf+zIkH+ri7ZAYIjxHUlxLUS/m814BjDhH7q+YDBWdkNLBLwO1SwfyAMs0NLZPIqSWUsahi/BopCG9hT+mOASyOhwK80UiJEWVt//p3j5XSxH+VAdr+mAfhKa4oP64dnlxYzsDIGKc958P98vNoZnCPndfMLePokiZ08RqDjnRern7CkCyTLYwcTaN5/Wq7XheiT9eG57vr66vroK+J79xZnP8WZzvV8FfEXS9pdn/MVNHG1C+4qk+asz/uGwjBdJYF+RND+Z4Cc3LoYeqaYNuztjy0AeDsa6o5Qd/XuSvgH6xiZoZEH2XdXIJcqOiakaasmPbjjAoCRRIhqGxGNflCSDOrsaGkKlJ2RXEA/XUMZPIFgzMNc27F1tj+ZgpXFDanttuLsvZdlkBVZDDaW34pEW/3C1Sd7RJj8AKAfV6Szc6elreDShD3jVQNQcNHTi30bUtzXpIUCxWqHixnTFUd/xFEcKnrQtF6X37ecu1+c1jmW+dUA5ESMerRwOSRGanawNCAFw5tVRr5RQWAfk3Nc44S0WOrGYcGJtwWecUDt7Fy+2E15spHmbKiWOkDoXCnDNZQWODSJSx1dLmAKTEM8ILXKZJ62TNrsyOfb5XTL9VDCDCohA/U0FjJneSl+f3J7cnS61F2Q6cMIrt9AJFRl11HlN8sJUp0Rf4sZrc70dUxq4J0NhYuG5sZYi92Qw3pprmFeeaANlvlJQhh5SnCxWUDIZ6VNcgkDCY9tD7XBWYURoBZ8LmRj0gX+LsvQDFzeE1zrgSnTkTkFKG1EMiDZtiuX2XQAoUxqifIvnIAi/rXNbkJXfzTlIepjkoiyLTPhp9xAZaf0KCq+1YnJUTX87Wc7s7iHdt3X+gI70fvhKoMRW61gGMG+4gFajo5k3gydkY/2dyJWRXf/LUNWQxgnta2I6ii/mmq5E1Lmj3lwMvDezZwioFxLTCI+VbLB+UINu6lqX9uHJrvv8JBk5TzTHnhmoiuya0/oRrPCu0u95ZUMMPdvv8Fq6TyV3a7Xu5DvBdQkIuIuf63evagiea+NigWvS43MZlppt0LB32A0+49pLmoSn+ok1exI31yMmlwPwTZ0f5p1WLUCl/a5UkZ66mH0mPTpWcYrhEoWR+AVPcO3CgM0lNpcYPMHdCtqFvhCl2DxYBMY14jgLiywsZ2mRpUVWFllZJLFIgpG6OcAtVF4aMLIXA+hh5iJh2ml4e738HwAA//8DAFBLAwQUAAYACAAAACEAnGZGQbsAAAAkAQAAKgAAAGNsaXBib2FyZC9kcmF3aW5ncy9fcmVscy9kcmF3aW5nMS54bWwucmVsc4SPzQrCMBCE74LvEPZu0noQkSa9iNCr1AcIyTYtNj8kUezbG+hFQfCyMLPsN7NN+7IzeWJMk3ccaloBQae8npzhcOsvuyOQlKXTcvYOOSyYoBXbTXPFWeZylMYpJFIoLnEYcw4nxpIa0cpEfUBXNoOPVuYio2FBqrs0yPZVdWDxkwHii0k6zSF2ugbSL6Ek/2f7YZgUnr16WHT5RwTLpRcWoIwGMwdKV2edNS1dgYmGff0m3gAAAP//AwBQSwECLQAUAAYACAAAACEAu+VIlAUBAAAeAgAAEwAAAAAAAAAAAAAAAAAAAAAAW0NvbnRlbnRfVHlwZXNdLnhtbFBLAQItABQABgAIAAAAIQCtMD/xwQAAADIBAAALAAAAAAAAAAAAAAAAADYBAABfcmVscy8ucmVsc1BLAQItABQABgAIAAAAIQAeLYBcfQQAAOoRAAAfAAAAAAAAAAAAAAAAACACAABjbGlwYm9hcmQvZHJhd2luZ3MvZHJhd2luZzEueG1sUEsBAi0AFAAGAAgAAAAhAPBt81IIBAAACQ8AABoAAAAAAAAAAAAAAAAA2gYAAGNsaXBib2FyZC90aGVtZS90aGVtZTEueG1sUEsBAi0AFAAGAAgAAAAhAJxmRkG7AAAAJAEAACoAAAAAAAAAAAAAAAAAGgsAAGNsaXBib2FyZC9kcmF3aW5ncy9fcmVscy9kcmF3aW5nMS54bWwucmVsc1BLBQYAAAAABQAFAGcBAAAdDAAAAAA=&quot;,&#10;  &quot;Left&quot;: 46.74992,&#10;  &quot;Top&quot;: 543.0562&#10;}"/>
  <p:tag name="UPSLIDEFOOTNOTEPREVIEW" val="{&#10;  &quot;Data&quot;: &quot;iVBORw0KGgoAAAANSUhEUgAABB4AAAAkCAYAAAAuCPnrAAAABGdBTUEAALGPC/xhBQAAAAlwSFlzAAAXEQAAFxEByibzPwAACMBJREFUeF7t3TGMFUUcx3EKi4sVjYmhOhOSI4EzEg13hQUlJSUlWlFSYkJBYkFlKLGjtCTRwtLSyhArSqINnTYEYrX+/zszb2fnzez8Z9+Dd+/2+0km4ebNb2b3zSr3333HXQAAAAAAAAAAAAAAAAAAAAAAAMAH0XXdp9KeSftJ2he+2+wM5Z9LO/XdZuR3nr8o7Sl58lvI3/TdZuS3kn9Cvvt1wzzvX9fd8t1m5HeeP5D2mDz5LeRv+24z8lvJPyLf/bZhfnnvnwRC8ddcvPtc8MJ3m0nmLOVf+W4zyZAf7CKv3/QES8+/lnbgXzKR8eQH5MnvW17/0g+Wnn8njXwDGb/r/P0+6ZCX78X9SyYynvyAPPl9y9/tk86y8jJYnzYETcW7jNc7HcGcbxzOUv5faeQbyPhd5+Nrd+l5/Q//on/JRMaTH5Anv+t861/8+mmTYOl5Rb6BjN91Pr7xppaev+JfMpHx5MfIN5Dx5Mc2zbc+uH/gYivLycvgFy7Te+27TWT8TWmvpGnRdN93m5EnT36n+VPyfV6Lnke+24z8xvkr0l6S7/OPfbcZefLkF50/JN/n1VPfbSYZ8pvl9dPyv/dp8s98t5lklpuXQFy83PPdAAAAAAAAAAAAAAAAAAAAAAAAcA4PDw+Oj0//unr15I7vWjk6uvHZ8fHJ35cvX//Ed6mPPv/89Gdp1Z9zPT6+8YOM6/Lt5E2YV8fJMfxx6dKXH/fBma5dO/lW5m49ruaf1y2xrt/qfc2rcvvv11vtlVwDz/1Lyrz/Kswfzxfv/T6xXqdcXwAAAAAwKBaRQ8G4XiRO3ayIuQLswxSZUYE7WUC5mymn/9SOvZV1/Vbva15vbf+jmw59n7xPX+vX8c0H6/6HbDy/cgX8yX9Xr351w3ftBcuNB64vAAAAAIhoYZgrpKKCUVr+xoEWqLUi7CzeeHDnvP2idx8Lw3T/w1rJJxz8zYjxPlr3PzemtM5ZZ7nxwPUFAAAAAF6p4AhPbLU/V3AGloLFeuMhLehc7vQXafo0Xp+294Xc+IbIcFMkOubJmyV+3lU+XjN60h/a2nmVxuTWPzq6fkn+3H+aIF43XjNomTecl+V4p+T2r/S0XtdKi2nD/vefpsidb0nrHpQK/Mo8q0951PYlfV3W+3HqfLi+AAAAACBieTLrio/yjQMteOqFWDkfpPNEhdSq2MkUxaPC1vrkNnfebv2hLyrIVnPVxmTWDwVuF445jJF5Vk/6Z8zb70vteGss+x+4/VjfR3fs5f3XNfT8p8YElnNKx+SuT8NemvclV4jXzoXrCwAAAAA8V5BMF1G5wi6WFigpV7yNnpr6lisWh2NxufEYV8SWjyVXQOWkhWGpqIrPzTKmVBjG56Xic50z71Rm6v1JWfZfuXn7fRutp+Lj9F1r3L4Ne58bbzmnXFHd8t5E65r3JRT0geU94/oCAAAAACdbtKRqxUYoKtMCLdAiyFKspAVdrsCLCqLsepnCLCstDNOvg7CermUZUy4Mx/+OQXxuc+a1ZHzXFNP+61oyTm8WjM4hCK8b14z3aHQDwnJOlvOzzCNfVvclLsz9yz3XX3/PWs/NMmbPri8AAAAA50jXdXek3ZV24LtMskVLqnbjoVaMaBG0rRsPXn/c0lZP0MPamcIsKy2sLIWWZcyHKgzdngznnzbN9JNMq+5/tE7x/dygGPX76K4NyzlZ1pLXLEVzdV9K1732hzG+a016DJZjsozZs+sLAAAAwDnRdd0TacHkPYSUL1qmi6hSARZoYTNVjGgRtOUbDzFfvLr1t33jIT43y5htFoZT85YyjSb33+1bX2hW38twnL5rpXajID4PyznV5lOlebQ/Os7qvrgbDOvzbPPGQ3xMljF7dn0BAAAAOCe6rnvh7jn03vluG1dcTt8UqN14KBVogWUNFRdLua9LKk+Es9LCKsyR5uJzs4yZUxjOmbeUaS0YS3vj9jx/MyE1tf/huNPzD9w6bn3LORXmG73HlvdTvjTvS/oeWK5Lri8AAAAA50nXdQ/cPYfeT767TAZ9Ku2ZDn748PtvaoVEXBz6rpFaIVYqblPpPLl5c4VPpTDLys3j1hv6QvElfauirjZmTmE4fN0071omjEnXmpJ7H0pFZ0l6LildQ+Za+00Qob/1nOL91q9n7uWsfSmdS2rmMVXH7Nv1BQAAAOD86LruVNot/+U0GfhcWu/t27d/pgVHaurGQyhGpNAqPhnXAmZbNx6UO57h583j4kgNr5fXzBWGKp1b2tr7UhsTr390dP2S/LlaGKqWecN5pZnWojBXcGaOI55/9J5Z9l9F6xTnCiznFI+xziMtfj9NBbty12+Y4+SNzPtdOibF9QUAAABg0brxz2a81iIpLjZaaGFSK8JwtrH/AAAAAICt6rruprRX0v6Vdk+6+qe/0taevk6xPu3Gmcf+AwAAAADer1wR2bnfz/mbtAe+K1YtViv5qnOQ199xuhf5wv5P5S37r/nfC/kqn1/E+58T5R9Ja/o9uYr8xvnb0n4lT37D/GPye5m/Rb7//yfv32Z5/bVzF323GfmN8/qAVX+snDz5XeafLjE/iyz0hbTYbf+SiYwnP0a+gYw/dLGVpefv+pdMZDz5sda8/gO87/qks/T8ff+SiYwnT578YGn5A2nkB02fJpXx5DfPv+6TztLzT/xLJjKePPnZ+dlkIX1aENMfyTCT8eTHlp5v/Ytb/7XU2NLzTZ+akPHkx1rz6Y2zpecf+5dMZDz5MfINZDz5sV3nW79x1RsXsaXnn/qXTGQ8+bE5+fjGxdLz9V93GJHx5MnPzm9EFtOPOSn9uPycj2osPa+/slSRlwvZd5tJhrxDnvw+5vUjemrp+ZfSDn23mWTIO7vK60fs9Zsv8l13xXebkSdPfq/z+iOG5DfP67+neOq7zfY9DwAAAAAAAAAAAAAAAAAAAAAAAAAAAAAAAAAAAAAAAAAAAAAAAAAAAAAAAAAAAAAAAOyfCxf+BwH885g52kCoAAAAAElFTkSuQmCC&quot;&#10;}"/>
  <p:tag name="UPSLIDEFOOTNOTEOPTIONS" val="{&#10;  &quot;Multiline&quot;: false,&#10;  &quot;Enabled&quot;: true&#10;}"/>
  <p:tag name="CUSTOMLAYOUT" val="F"/>
  <p:tag name="DATESCRIPT" val=" | &lt;%Title%&gt; | 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Table of contents&lt;/SlideTitle&gt;&#10;  &lt;/TocSlidesOptions&gt;&#10;  &lt;SectionSlideOptions&gt;&#10;    &lt;ContainsOwnSubSection&gt;true&lt;/ContainsOwnSubSection&gt;&#10;    &lt;ContainsOwnSlide&gt;tru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true&lt;/containsUnnumberedSections&gt;&#10;    &lt;SlideTitle&gt;Section&lt;/SlideTitle&gt;&#10;  &lt;/SectionSlideOptions&gt;&#10;  &lt;SubSectionSlideOptions&gt;&#10;    &lt;ContainsOtherSubsections&gt;false&lt;/ContainsOtherSubsections&gt;&#10;    &lt;ContainsOwnSlides&gt;true&lt;/ContainsOwnSlides&gt;&#10;    &lt;ContainsParentSection&gt;false&lt;/ContainsParentSection&gt;&#10;    &lt;ContainsOtherSections&gt;false&lt;/ContainsOtherSections&gt;&#10;    &lt;containsAppendix&gt;false&lt;/containsAppendix&gt;&#10;    &lt;containsUnnumberedSections&gt;false&lt;/containsUnnumberedSections&gt;&#10;    &lt;SlideTitle&gt;Subsection&lt;/SlideTitle&gt;&#10;  &lt;/SubSectionSlideOptions&gt;&#10;  &lt;UsedSlideLayouts&gt;&#10;    &lt;TocSlidesLayout&gt;&#10;      &lt;DesignName&gt;EY Global&lt;/DesignName&gt;&#10;      &lt;LayoutName&gt;Agenda&lt;/LayoutName&gt;&#10;    &lt;/TocSlidesLayout&gt;&#10;    &lt;SectionLayout&gt;&#10;      &lt;DesignName&gt;EY Global&lt;/DesignName&gt;&#10;      &lt;LayoutName&gt;Section divider&lt;/LayoutName&gt;&#10;    &lt;/SectionLayout&gt;&#10;    &lt;SubsectionLayout&gt;&#10;      &lt;DesignName&gt;EY Global&lt;/DesignName&gt;&#10;      &lt;LayoutName&gt;Subsection divider&lt;/LayoutName&gt;&#10;    &lt;/SubsectionLayout&gt;&#10;    &lt;AppendixLayout&gt;&#10;      &lt;DesignName&gt;EY Global&lt;/DesignName&gt;&#10;      &lt;LayoutName&gt;Appendix divider&lt;/LayoutName&gt;&#10;    &lt;/AppendixLayout&gt;&#10;    &lt;TitleSliLayout&gt;&#10;      &lt;DesignName&gt;EY Global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08/03/2022 15:04:59361322441&lt;/Key&gt;&#10;        &lt;Value xsi:type=&quot;xsd:string&quot;&gt;&amp;lt;%SubSecNumElseSecNum%&amp;gt;&amp;lt;%DotIfSubSecOrSecNum%&amp;gt;&amp;lt;%SpaceIfSubSecOrSecNum%&amp;gt;&amp;lt;%SubSecNameElseSecName%&amp;gt;&lt;/Value&gt;&#10;      &lt;/ReminderScript&gt;&#10;    &lt;/ReminderScriptList&gt;&#10;    &lt;MigrationVersion&gt;6.8.8.1&lt;/MigrationVersion&gt;&#10;  &lt;/ActiveReminders&gt;&#10;  &lt;HardRefreshRequired&gt;true&lt;/HardRefreshRequired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true&lt;/ForceDisplayTOCOnTwocolumns&gt;&#10;      &lt;DisplayTOCOnTwocolumns&gt;true&lt;/DisplayTOCOnTwocolumns&gt;&#10;      &lt;Scripts&gt;&#10;        &lt;BeforeSubSecTitle /&gt;&#10;        &lt;BeforeSlideIndex /&gt;&#10;        &lt;AfterSecNum /&gt;&#10;        &lt;BeforeSecNum /&gt;&#10;        &lt;ZeroBeforeSecNum&gt;false&lt;/Zero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27&lt;/SpaceBeforeSections&gt;&#10;          &lt;SpaceBeforeSubSections&gt;0&lt;/SpaceBeforeSubSections&gt;&#10;          &lt;SpaceBeforeSlides&gt;0&lt;/SpaceBeforeSlides&gt;&#10;        &lt;/ManualSpacing&gt;&#10;        &lt;ManualSpacingSections&gt;&#10;          &lt;SpaceBeforeSections&gt;26.1731358&lt;/SpaceBeforeSections&gt;&#10;          &lt;SpaceBeforeSubSections&gt;0&lt;/SpaceBeforeSubSections&gt;&#10;          &lt;SpaceBeforeSlides&gt;0&lt;/SpaceBeforeSlides&gt;&#10;        &lt;/ManualSpacingSections&gt;&#10;        &lt;ManualSpacingSubSections&gt;&#10;          &lt;SpaceBeforeSections&gt;26.1731358&lt;/SpaceBeforeSections&gt;&#10;          &lt;SpaceBeforeSubSections&gt;0&lt;/SpaceBeforeSubSections&gt;&#10;          &lt;SpaceBeforeSlides&gt;0&lt;/SpaceBeforeSlides&gt;&#10;        &lt;/ManualSpacingSubSections&gt;&#10;        &lt;UseSpecificSpacingForSecDivider&gt;true&lt;/UseSpecificSpacingForSecDivider&gt;&#10;        &lt;UseSpecificSpacingForSubSecDivider&gt;true&lt;/UseSpecificSpacingForSubSecDivider&gt;&#10;      &lt;/ManVerticalSpacing&gt;&#10;    &lt;/CustomBaseAlgoOptions&gt;&#10;  &lt;/CustomAlgoOptions&gt;&#10;  &lt;UserPresentationOptions&gt;&#10;    &lt;SubSectionsHaveSlide&gt;true&lt;/SubSectionsHaveSlide&gt;&#10;    &lt;SectionDividersContainOwnSubSections&gt;true&lt;/SectionDividersContainOwnSubSections&gt;&#10;    &lt;SectionDividersContainOwnSlideTitles&gt;false&lt;/SectionDividersContainOwnSlideTitles&gt;&#10;    &lt;SubSectionDividersContainOwnSlideTitles&gt;false&lt;/SubSectionDividersContainOwnSlideTitles&gt;&#10;    &lt;TOCSlidesContainSubsectionTitles&gt;false&lt;/TOCSlidesContainSubsectionTitles&gt;&#10;    &lt;TOCSlidesContainSlideTitles xsi:nil=&quot;true&quot; /&gt;&#10;    &lt;DisplayRemindersOnSlides&gt;fals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89f89d8d-4be6-41f3-8c01-4b2e1818ca07"/>
  <p:tag name="UPSLIDESHAPELIBITEMEDITIONDATE" val="637830448839542822"/>
  <p:tag name="UPSLIDESHAPELIBITEMLASTCREATOR" val="browning"/>
  <p:tag name="UPSLIDESHAPELIBITEMNAME" val="Back cover A4 - Americas"/>
  <p:tag name="UPSLIDESTOREDSHAPELOCATION" val="c:\customization\libraries\Report Library\01. A4 template\A4 back covers.li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ad8880f8-a26a-4d47-b68c-9145f7f0ff50"/>
  <p:tag name="UPSLIDESHAPELIBITEMEDITIONDATE" val="637830448842966319"/>
  <p:tag name="UPSLIDESHAPELIBITEMLASTCREATOR" val="browning"/>
  <p:tag name="UPSLIDESHAPELIBITEMNAME" val="Back cover A4 - APAC"/>
  <p:tag name="UPSLIDESTOREDSHAPELOCATION" val="c:\customization\libraries\Report Library\01. A4 template\A4 back covers.li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08/03/2022 15:04:59361322441"/>
  <p:tag name="TOCTEMPLATESHAPENAME" val="Section name and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6ErCep08dkY.Ww7Mz2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8&quot; Source=&quot;Harvey 8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0/8 [0]&quot; Source=&quot;Harvey 8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1/8 [1]&quot; Source=&quot;Harvey 8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2/8 [2]&quot; Source=&quot;Harvey 8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3/8 [3]&quot; Source=&quot;Harvey 8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ed5cf9d4-0ee8-4d37-b2e3-49a9e00ca617"/>
  <p:tag name="UPSLIDESHAPELIBITEMEDITIONDATE" val="637830448841251086"/>
  <p:tag name="UPSLIDESHAPELIBITEMLASTCREATOR" val="browning"/>
  <p:tag name="UPSLIDESHAPELIBITEMNAME" val="Back cover A4 - EMEIA"/>
  <p:tag name="UPSLIDESTOREDSHAPELOCATION" val="c:\customization\libraries\Report Library\01. A4 template\A4 back covers.li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4/8 [4]&quot; Source=&quot;Harvey 8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5/8 [5]&quot; Source=&quot;Harvey 8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6/8 [6]&quot; Source=&quot;Harvey 8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7/8 [7]&quot; Source=&quot;Harvey 8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2700577b-d3de-467d-a9b0-050efc349743&quot; IsConsolidated=&quot;False&quot; IsTopLevel=&quot;False&quot; Layer=&quot;Harvey 8/8 [8]&quot; Source=&quot;Harvey 8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HXaJJnf4mTzCNxkiB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a7dIOdBhlhb.PsOg1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ejcgeCZ_2oaECBJvpU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DNLRtyZybstBSj00B8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ExcelTab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heme/theme1.xml><?xml version="1.0" encoding="utf-8"?>
<a:theme xmlns:a="http://schemas.openxmlformats.org/drawingml/2006/main" name="EY Global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marL="180000" marR="0" indent="-180000" algn="l" defTabSz="1007943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E2E38"/>
          </a:buClr>
          <a:buSzPct val="70000"/>
          <a:buFont typeface="Arial" panose="020B0604020202020204" pitchFamily="34" charset="0"/>
          <a:buChar char="►"/>
          <a:tabLst/>
          <a:defRPr kumimoji="0" sz="1000" strike="noStrike" kern="1200" cap="none" spc="0" normalizeH="0" baseline="0" noProof="0" dirty="0" smtClean="0">
            <a:ln>
              <a:noFill/>
            </a:ln>
            <a:solidFill>
              <a:srgbClr val="2E2E38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custClrLst>
    <a:custClr name="EY Gray 01">
      <a:srgbClr val="747480"/>
    </a:custClr>
    <a:custClr name="EY Gray 02">
      <a:srgbClr val="C4C4CD"/>
    </a:custClr>
    <a:custClr name="EY Off White (digital)">
      <a:srgbClr val="F6F6FA"/>
    </a:custClr>
    <a:custClr name="EY Red Shade 1">
      <a:srgbClr val="FF9A91"/>
    </a:custClr>
    <a:custClr name="EY Red Shade 2">
      <a:srgbClr val="FF736A"/>
    </a:custClr>
    <a:custClr name="EY Red Shade 3">
      <a:srgbClr val="F95D54"/>
    </a:custClr>
    <a:custClr name="EY Red Shade 4 (Main)">
      <a:srgbClr val="FF4136"/>
    </a:custClr>
    <a:custClr name="EY Red Shade 5">
      <a:srgbClr val="E0362C"/>
    </a:custClr>
    <a:custClr name="EY Red Shade 6">
      <a:srgbClr val="B9251C"/>
    </a:custClr>
    <a:custClr name="EY Red Shade 7">
      <a:srgbClr val="7A130D"/>
    </a:custClr>
    <a:custClr name="EY Maroon Shade 6">
      <a:srgbClr val="42152D"/>
    </a:custClr>
    <a:custClr name="EY Maroon Shade 5">
      <a:srgbClr val="5A0A42"/>
    </a:custClr>
    <a:custClr name="EY Maroon Shade 4 (Main)">
      <a:srgbClr val="750E5C"/>
    </a:custClr>
    <a:custClr name="EY Orange Shade 1">
      <a:srgbClr val="FFB46A"/>
    </a:custClr>
    <a:custClr name="EY Orange Shade 2">
      <a:srgbClr val="FF9831"/>
    </a:custClr>
    <a:custClr name="EY Orange Shade 3">
      <a:srgbClr val="FF810A"/>
    </a:custClr>
    <a:custClr name="EY Orange Shade 4 (Main)">
      <a:srgbClr val="FF6D00"/>
    </a:custClr>
    <a:custClr name="EY Orange Shade 5">
      <a:srgbClr val="F76900"/>
    </a:custClr>
    <a:custClr name="EY Orange Shade 6">
      <a:srgbClr val="EB4F00"/>
    </a:custClr>
    <a:custClr name="EY Orange Shade 7">
      <a:srgbClr val="BC2F00"/>
    </a:custClr>
    <a:custClr name="EY Maroon Shade 3">
      <a:srgbClr val="922B73"/>
    </a:custClr>
    <a:custClr name="EY Maroon Shade 2">
      <a:srgbClr val="754891"/>
    </a:custClr>
    <a:custClr name="EY Maroon Shade 1">
      <a:srgbClr val="C981B2"/>
    </a:custClr>
    <a:custClr name="EY Green Shade 1">
      <a:srgbClr val="8CE8AD"/>
    </a:custClr>
    <a:custClr name="EY Green Shade 2">
      <a:srgbClr val="57E188"/>
    </a:custClr>
    <a:custClr name="EY Green Shade 3">
      <a:srgbClr val="34C768"/>
    </a:custClr>
    <a:custClr name="EY Green Shade 4 (Main)">
      <a:srgbClr val="2DB757"/>
    </a:custClr>
    <a:custClr name="EY Green Shade 5">
      <a:srgbClr val="189D3E"/>
    </a:custClr>
    <a:custClr name="EY Green Shade 6">
      <a:srgbClr val="168736"/>
    </a:custClr>
    <a:custClr name="EY Green Shade 7">
      <a:srgbClr val="13652A"/>
    </a:custClr>
    <a:custClr name="EY Purple Shade 6">
      <a:srgbClr val="0A095A"/>
    </a:custClr>
    <a:custClr name="EY Purple Shade 5">
      <a:srgbClr val="240D75"/>
    </a:custClr>
    <a:custClr name="EY Purple Shade 4 (Main)">
      <a:srgbClr val="3D108A"/>
    </a:custClr>
    <a:custClr name="EY Teal Shade 1">
      <a:srgbClr val="93F0E6"/>
    </a:custClr>
    <a:custClr name="EY Teal Shade 2">
      <a:srgbClr val="60E6E1"/>
    </a:custClr>
    <a:custClr name="EY Teal Shade 3">
      <a:srgbClr val="42C9C2"/>
    </a:custClr>
    <a:custClr name="EY Teal Shade 4 (Main)">
      <a:srgbClr val="27ACAA"/>
    </a:custClr>
    <a:custClr name="EY Teal Shade 5">
      <a:srgbClr val="109090"/>
    </a:custClr>
    <a:custClr name="EY Teal Shade 6">
      <a:srgbClr val="0D7575"/>
    </a:custClr>
    <a:custClr name="EY Teal Shade 7">
      <a:srgbClr val="004F4F"/>
    </a:custClr>
    <a:custClr name="EY Purple Shade 3">
      <a:srgbClr val="542EA5"/>
    </a:custClr>
    <a:custClr name="EY Purple Shade 2">
      <a:srgbClr val="724BC3"/>
    </a:custClr>
    <a:custClr name="EY Purple Shade 1">
      <a:srgbClr val="9C82D4"/>
    </a:custClr>
    <a:custClr name="EY Blue Shade 1">
      <a:srgbClr val="87D3F2"/>
    </a:custClr>
    <a:custClr name="EY Blue Shade 2">
      <a:srgbClr val="4EBEEB"/>
    </a:custClr>
    <a:custClr name="EY Blue Shade 3">
      <a:srgbClr val="35A4E8"/>
    </a:custClr>
    <a:custClr name="EY Blue Shade 4 (Main)">
      <a:srgbClr val="188CE5"/>
    </a:custClr>
    <a:custClr name="EY Blue Shade 5">
      <a:srgbClr val="1777CF"/>
    </a:custClr>
    <a:custClr name="EY Blue Shade 6">
      <a:srgbClr val="155CB4"/>
    </a:custClr>
    <a:custClr name="EY Blue Shade 7">
      <a:srgbClr val="082C65"/>
    </a:custClr>
  </a:custClrLst>
  <a:extLst>
    <a:ext uri="{05A4C25C-085E-4340-85A3-A5531E510DB2}">
      <thm15:themeFamily xmlns:thm15="http://schemas.microsoft.com/office/thememl/2012/main" name="A4 Report.potx" id="{B9F1D2A2-5D00-4E39-B6EF-BE913A04F327}" vid="{4C9C29BB-1E04-4426-A443-47F69BCEE4F7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Report.potx" id="{B9F1D2A2-5D00-4E39-B6EF-BE913A04F327}" vid="{5C78D5B0-C37F-4E58-A5D7-650A4F02F0BC}"/>
    </a:ext>
  </a:extLst>
</a:theme>
</file>

<file path=ppt/theme/theme3.xml><?xml version="1.0" encoding="utf-8"?>
<a:theme xmlns:a="http://schemas.openxmlformats.org/drawingml/2006/main" name="EY dark background">
  <a:themeElements>
    <a:clrScheme name="Benutzerdefiniert 8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GSA_Pursuits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0" tIns="0" rIns="0" bIns="0" rtlCol="0">
        <a:noAutofit/>
      </a:bodyPr>
      <a:lstStyle>
        <a:defPPr algn="l" defTabSz="685434">
          <a:spcAft>
            <a:spcPts val="600"/>
          </a:spcAft>
          <a:buClr>
            <a:srgbClr val="FFE600"/>
          </a:buClr>
          <a:buSzPct val="80000"/>
          <a:defRPr sz="1400" kern="0"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61C89142-1D04-4713-9D4A-29A35BAFA16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D3BC4F1AF10840854151AFF16D7606" ma:contentTypeVersion="10" ma:contentTypeDescription="Create a new document." ma:contentTypeScope="" ma:versionID="5609e589d4a33b6680b326f0e1cf1392">
  <xsd:schema xmlns:xsd="http://www.w3.org/2001/XMLSchema" xmlns:xs="http://www.w3.org/2001/XMLSchema" xmlns:p="http://schemas.microsoft.com/office/2006/metadata/properties" xmlns:ns2="4cc798ac-898a-4a3d-adbc-eb529bbd3b29" xmlns:ns3="66249431-1964-468b-b59c-1409ed13f64b" targetNamespace="http://schemas.microsoft.com/office/2006/metadata/properties" ma:root="true" ma:fieldsID="fdeddf63c0490dd683fc82d17fd06de5" ns2:_="" ns3:_="">
    <xsd:import namespace="4cc798ac-898a-4a3d-adbc-eb529bbd3b29"/>
    <xsd:import namespace="66249431-1964-468b-b59c-1409ed13f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c798ac-898a-4a3d-adbc-eb529bbd3b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249431-1964-468b-b59c-1409ed13f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16680A0-653D-4A4D-8D88-945FDA67CC5D}"/>
</file>

<file path=customXml/itemProps2.xml><?xml version="1.0" encoding="utf-8"?>
<ds:datastoreItem xmlns:ds="http://schemas.openxmlformats.org/officeDocument/2006/customXml" ds:itemID="{1A8B6191-FD92-4AD9-B6E2-98E37E6DC6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7E6266-B9ED-4ADE-8D2E-23EC1C6E062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33</Words>
  <Application>Microsoft Office PowerPoint</Application>
  <PresentationFormat>Custom</PresentationFormat>
  <Paragraphs>314</Paragraphs>
  <Slides>21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Calibri</vt:lpstr>
      <vt:lpstr>EYInterstate</vt:lpstr>
      <vt:lpstr>EYInterstate Light</vt:lpstr>
      <vt:lpstr>EYInterstate Regular</vt:lpstr>
      <vt:lpstr>Garamond</vt:lpstr>
      <vt:lpstr>Segoe UI Semibold</vt:lpstr>
      <vt:lpstr>Times</vt:lpstr>
      <vt:lpstr>Wingdings</vt:lpstr>
      <vt:lpstr>EY Global</vt:lpstr>
      <vt:lpstr>UpSlide Table Of Content Master (do not edit)</vt:lpstr>
      <vt:lpstr>EY dark background</vt:lpstr>
      <vt:lpstr>think-cell Slide</vt:lpstr>
      <vt:lpstr>TMT Enabler Update V4.2</vt:lpstr>
      <vt:lpstr>PowerPoint Presentation</vt:lpstr>
      <vt:lpstr>PowerPoint Presentation</vt:lpstr>
      <vt:lpstr>As of YTD August '24, the TMT Enabler has demonstrated strong adoption and proven value across client engagements</vt:lpstr>
      <vt:lpstr>The new Enabler release boosts team collaboration, accelerates data processing, streamlines onboarding, and adopts best-in-class solutions</vt:lpstr>
      <vt:lpstr>Significant enhancements delivered this development cycle with a focus on usability and performance, interactive databook capabilities, and more advanced analyses to drive deeper insights</vt:lpstr>
      <vt:lpstr>We have established clear steps for streamlining data processes, setting up Snowflake, and enhancing reporting to efficiently deliver insights to our clients.</vt:lpstr>
      <vt:lpstr>Our change management strategy ensures smooth adoption through targeted training, support, usage tracking, and continuous feedback</vt:lpstr>
      <vt:lpstr>PowerPoint Presentation</vt:lpstr>
      <vt:lpstr>3.1 - New Databook Views</vt:lpstr>
      <vt:lpstr>3.1 - New Databook Views</vt:lpstr>
      <vt:lpstr>3.1 - New Databook Views</vt:lpstr>
      <vt:lpstr>PowerPoint Presentation</vt:lpstr>
      <vt:lpstr>4.1 - Process Overview</vt:lpstr>
      <vt:lpstr>PowerPoint Presentation</vt:lpstr>
      <vt:lpstr>2.1 - A Future with no Alteryx? (Might sound scary but it's not)</vt:lpstr>
      <vt:lpstr>2.2 - What Does the Python Code Look Like?</vt:lpstr>
      <vt:lpstr>PowerPoint Presentation</vt:lpstr>
      <vt:lpstr>5.1 – Meet The Team</vt:lpstr>
      <vt:lpstr>PowerPoint Presentation</vt:lpstr>
      <vt:lpstr>1.2 - v4.1 vs v4.2: Transitioning to an Enhanced Data Pack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ualization Best Practices</dc:title>
  <dc:creator>AR794ZB</dc:creator>
  <cp:lastModifiedBy>Manuel Taborga Barrios</cp:lastModifiedBy>
  <cp:revision>1</cp:revision>
  <dcterms:created xsi:type="dcterms:W3CDTF">2024-08-14T15:42:03Z</dcterms:created>
  <dcterms:modified xsi:type="dcterms:W3CDTF">2024-10-24T00:0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D3BC4F1AF10840854151AFF16D7606</vt:lpwstr>
  </property>
</Properties>
</file>